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9" r:id="rId1"/>
    <p:sldMasterId id="2147483907" r:id="rId2"/>
  </p:sldMasterIdLst>
  <p:notesMasterIdLst>
    <p:notesMasterId r:id="rId7"/>
  </p:notesMasterIdLst>
  <p:sldIdLst>
    <p:sldId id="1330" r:id="rId3"/>
    <p:sldId id="1376" r:id="rId4"/>
    <p:sldId id="1383" r:id="rId5"/>
    <p:sldId id="1384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limate Scenarios" id="{B20F60CF-B33B-4ABA-88B9-72104EE1F842}">
          <p14:sldIdLst>
            <p14:sldId id="1330"/>
            <p14:sldId id="1376"/>
            <p14:sldId id="1383"/>
            <p14:sldId id="1384"/>
          </p14:sldIdLst>
        </p14:section>
      </p14:sectionLst>
    </p:ext>
    <p:ext uri="{EFAFB233-063F-42B5-8137-9DF3F51BA10A}">
      <p15:sldGuideLst xmlns:p15="http://schemas.microsoft.com/office/powerpoint/2012/main">
        <p15:guide id="2" pos="3720" userDrawn="1">
          <p15:clr>
            <a:srgbClr val="A4A3A4"/>
          </p15:clr>
        </p15:guide>
        <p15:guide id="3" orient="horz" pos="273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9751D02-0994-A8E2-080A-7638CC740EDA}" name="Jenicek, Petr" initials="JP" userId="Jenicek, Petr" providerId="None"/>
  <p188:author id="{0075010A-C945-AD21-3E5D-022A6FF92A1F}" name="Monica Sambataro" initials="MS" userId="1dbdc88c86a000e4" providerId="Windows Live"/>
  <p188:author id="{1E9C9F17-05C8-2077-67BE-77161B493794}" name="Isabel Hoyos" initials="IH" userId="R5eVIiNu+G3RtUhixS3Ma/YW1PnaDPM4b2qCIjSgG/c=" providerId="None"/>
  <p188:author id="{0A58541E-2313-5106-8489-5EF4AE11323D}" name="sdl2148" initials="s" userId="S::sdl2148@adcu.columbia.edu::64a244a2-4e99-4579-9fce-fcac1a94b468" providerId="AD"/>
  <p188:author id="{9186431F-25B3-8E38-2A7B-0BB1E8132E52}" name="David Trey Foye" initials="DTF" userId="19dcb38d808bbeda" providerId="Windows Live"/>
  <p188:author id="{4E83F72A-A820-85D8-7C91-77B82FFB551F}" name="gvf2104" initials="g" userId="S::gvf2104@adcu.columbia.edu::276671a7-d317-4bde-8747-a53bd0e4839c" providerId="AD"/>
  <p188:author id="{D3CECC4B-249E-F3CF-3EE4-B49AC7878613}" name="Gernot Wagner" initials="GW" userId="33ee3ac88b4c2f16" providerId="Windows Live"/>
  <p188:author id="{9B00A34D-9A06-6EA1-351E-562F378D4D90}" name="Christian Sandjaja" initials="CS" userId="NnLAveImLf3gji+00Nu/4KFwi5W0vlRRulwZFpuj7zE=" providerId="None"/>
  <p188:author id="{E5D01957-5663-F8D4-01BC-9E5ABB11FE1A}" name="Shaurir Ramanujan" initials="SR" userId="74c4c31d4ad27b6e" providerId="Windows Live"/>
  <p188:author id="{B5FB0362-B61E-5A4B-4E29-675E7DA9B7A3}" name="Hyae Ryung" initials="HR" userId="S::hk2901@adcu.columbia.edu::98652124-d7bd-4e60-8447-ffbea6868795" providerId="AD"/>
  <p188:author id="{DA08E164-47B4-8915-C061-ED7A80B0BDC5}" name="Zhu, Xiaodan" initials="" userId="S::xz3239@gsb.columbia.edu::0163e47c-7593-4d01-91d2-f63452ae02f4" providerId="AD"/>
  <p188:author id="{F3D2A17B-AC1D-D888-1A35-811199230ADF}" name="Grace Frascati" initials="GF" userId="xUEwnWBQ0FD6z5gCSNdxYbNwcwMTXvDE0Db53yHAyZc=" providerId="None"/>
  <p188:author id="{705F0D85-8BB9-32CF-1BBF-9A91217B36C3}" name="Wagner, Gernot" initials="GW" userId="S::gw2245@gsb.columbia.edu::85791fa1-7c7a-445e-be8a-2777572de9b0" providerId="AD"/>
  <p188:author id="{86B4C19C-160B-F78B-7AA8-A423C66F06E8}" name="Yosafat Partogi" initials="YP" userId="2UYqYZ56fklBJ4iH7LP0xxfaBr253Dh0SL/VfbXUXFc=" providerId="None"/>
  <p188:author id="{593175A1-CE45-CB77-4EB2-F96F7E364AE9}" name="Zach Thurston" initials="ZT" userId="f6b220278e694a29" providerId="Windows Live"/>
  <p188:author id="{4887FEAB-150E-D3B5-15C8-9BFEC57DE75B}" name="Anika Behrndt" initials="AB" userId="63115d26c91df001" providerId="Windows Live"/>
  <p188:author id="{5AAB53AC-9282-FA46-3DD4-43E2BECBFB43}" name="Shaurir Ramanujan" initials="SR" userId="EMlWTjLrkEIfhqfrDfZQt2fkQMhyAUYKD0eXLHB54WQ=" providerId="None"/>
  <p188:author id="{260E17BE-8489-DFBC-F3BA-5BF5CDA04887}" name="Guest User" initials="GU" userId="S::urn:spo:anon#0bb27a3b92dbac135b583136ac2d46cf87cb37465767b2ab6ffb5febc1a0f7bc::" providerId="AD"/>
  <p188:author id="{5A034CE6-0512-3647-39BA-554856A9C3D1}" name="Helen Kim" initials="HK" userId="n1H8ZmGiKeGHwzxt24x1V8SczUGaTjzTyag75aCzgnE=" providerId="None"/>
  <p188:author id="{D09B54EA-E258-DB6A-918F-0A4BDB598CC6}" name="Partogi, Yosafat" initials="PY" userId="Partogi, Yosafat" providerId="None"/>
  <p188:author id="{A9B005EB-5525-8653-86DB-7FF7BDA9024F}" name="Gernot Wagner" initials="GW" userId="OVbcNIsJqkepRvkUnLynhQ7QrcHjvSyJJ8O9qHeWIMM=" providerId="None"/>
  <p188:author id="{92999BF9-A2A9-4106-3B12-0C5C339E12FD}" name="Anika Behrndt" initials="AB" userId="dW39pbrbAW4fTZ8OKEJGeyk0YJhXP0JQ5ezS8DHhUEM=" providerId="None"/>
  <p188:author id="{07F7A6FC-EB22-2604-9D93-F443DE4F611E}" name="bpl2124" initials="" userId="S::bpl2124@adcu.columbia.edu::e53defb5-cf60-4d10-a1cb-6591f4ab44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6041"/>
    <a:srgbClr val="009BDB"/>
    <a:srgbClr val="F7C100"/>
    <a:srgbClr val="FF9004"/>
    <a:srgbClr val="F2F2F2"/>
    <a:srgbClr val="E6DEF4"/>
    <a:srgbClr val="B39DDF"/>
    <a:srgbClr val="805BC9"/>
    <a:srgbClr val="D1F2FF"/>
    <a:srgbClr val="8CD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3AF166-C0BA-4C36-968B-D943A90F8800}" v="25" dt="2026-02-20T21:21:56.5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>
        <p:guide pos="3720"/>
        <p:guide orient="horz" pos="27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010367577756835E-2"/>
          <c:y val="3.1007751937984496E-2"/>
          <c:w val="0.90197926484448632"/>
          <c:h val="0.9379844961240310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0.85</c:v>
                </c:pt>
                <c:pt idx="1">
                  <c:v>0.92500000000000004</c:v>
                </c:pt>
                <c:pt idx="2">
                  <c:v>1</c:v>
                </c:pt>
                <c:pt idx="3">
                  <c:v>1.1000000000000001</c:v>
                </c:pt>
                <c:pt idx="4">
                  <c:v>1.365</c:v>
                </c:pt>
                <c:pt idx="5">
                  <c:v>1.4</c:v>
                </c:pt>
                <c:pt idx="6">
                  <c:v>1.7</c:v>
                </c:pt>
                <c:pt idx="7">
                  <c:v>1.75</c:v>
                </c:pt>
                <c:pt idx="8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B6-44C8-8806-47E25D784E4D}"/>
            </c:ext>
          </c:extLst>
        </c:ser>
        <c:ser>
          <c:idx val="1"/>
          <c:order val="1"/>
          <c:spPr>
            <a:solidFill>
              <a:srgbClr val="F7C1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FB6-44C8-8806-47E25D784E4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FB6-44C8-8806-47E25D784E4D}"/>
              </c:ext>
            </c:extLst>
          </c:dPt>
          <c:dPt>
            <c:idx val="2"/>
            <c:invertIfNegative val="0"/>
            <c:bubble3D val="0"/>
            <c:spPr>
              <a:solidFill>
                <a:srgbClr val="3DC0A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FB6-44C8-8806-47E25D784E4D}"/>
              </c:ext>
            </c:extLst>
          </c:dPt>
          <c:dPt>
            <c:idx val="3"/>
            <c:invertIfNegative val="0"/>
            <c:bubble3D val="0"/>
            <c:spPr>
              <a:solidFill>
                <a:srgbClr val="AAD1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FB6-44C8-8806-47E25D784E4D}"/>
              </c:ext>
            </c:extLst>
          </c:dPt>
          <c:dPt>
            <c:idx val="4"/>
            <c:invertIfNegative val="0"/>
            <c:bubble3D val="0"/>
            <c:spPr>
              <a:solidFill>
                <a:srgbClr val="FFE54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FB6-44C8-8806-47E25D784E4D}"/>
              </c:ext>
            </c:extLst>
          </c:dPt>
          <c:dPt>
            <c:idx val="6"/>
            <c:invertIfNegative val="0"/>
            <c:bubble3D val="0"/>
            <c:spPr>
              <a:solidFill>
                <a:srgbClr val="FF900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FB6-44C8-8806-47E25D784E4D}"/>
              </c:ext>
            </c:extLst>
          </c:dPt>
          <c:dPt>
            <c:idx val="7"/>
            <c:invertIfNegative val="0"/>
            <c:bubble3D val="0"/>
            <c:spPr>
              <a:solidFill>
                <a:srgbClr val="EA604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FB6-44C8-8806-47E25D784E4D}"/>
              </c:ext>
            </c:extLst>
          </c:dPt>
          <c:dPt>
            <c:idx val="8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FB6-44C8-8806-47E25D784E4D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0">
                  <c:v>1.1999999999999997</c:v>
                </c:pt>
                <c:pt idx="1">
                  <c:v>1.2499999999999998</c:v>
                </c:pt>
                <c:pt idx="2">
                  <c:v>1.2999999999999998</c:v>
                </c:pt>
                <c:pt idx="3">
                  <c:v>1.4</c:v>
                </c:pt>
                <c:pt idx="4">
                  <c:v>1.7299999999999998</c:v>
                </c:pt>
                <c:pt idx="5">
                  <c:v>1.6999999999999997</c:v>
                </c:pt>
                <c:pt idx="6">
                  <c:v>1.8999999999999997</c:v>
                </c:pt>
                <c:pt idx="7">
                  <c:v>2.1</c:v>
                </c:pt>
                <c:pt idx="8">
                  <c:v>1.7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FB6-44C8-8806-47E25D784E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99248400"/>
        <c:axId val="1"/>
      </c:barChart>
      <c:lineChart>
        <c:grouping val="standard"/>
        <c:varyColors val="0"/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FB6-44C8-8806-47E25D784E4D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FB6-44C8-8806-47E25D784E4D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FB6-44C8-8806-47E25D784E4D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FB6-44C8-8806-47E25D784E4D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FB6-44C8-8806-47E25D784E4D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EFB6-44C8-8806-47E25D784E4D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EFB6-44C8-8806-47E25D784E4D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EFB6-44C8-8806-47E25D784E4D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EFB6-44C8-8806-47E25D784E4D}"/>
              </c:ext>
            </c:extLst>
          </c:dPt>
          <c:val>
            <c:numRef>
              <c:f>Sheet1!$A$3:$I$3</c:f>
              <c:numCache>
                <c:formatCode>General</c:formatCode>
                <c:ptCount val="9"/>
                <c:pt idx="0">
                  <c:v>1.45</c:v>
                </c:pt>
                <c:pt idx="1">
                  <c:v>1.5499999999999998</c:v>
                </c:pt>
                <c:pt idx="2">
                  <c:v>1.65</c:v>
                </c:pt>
                <c:pt idx="3">
                  <c:v>1.8</c:v>
                </c:pt>
                <c:pt idx="4">
                  <c:v>2.23</c:v>
                </c:pt>
                <c:pt idx="5">
                  <c:v>2.25</c:v>
                </c:pt>
                <c:pt idx="6">
                  <c:v>2.65</c:v>
                </c:pt>
                <c:pt idx="7">
                  <c:v>2.8</c:v>
                </c:pt>
                <c:pt idx="8">
                  <c:v>3.69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EFB6-44C8-8806-47E25D784E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9248400"/>
        <c:axId val="1"/>
      </c:lineChart>
      <c:catAx>
        <c:axId val="1899248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.5"/>
        </c:scaling>
        <c:delete val="0"/>
        <c:axPos val="r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9248400"/>
        <c:crosses val="max"/>
        <c:crossBetween val="between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706787963610917"/>
          <c:y val="6.3263041065482792E-2"/>
          <c:w val="0.87473757872638214"/>
          <c:h val="0.87291897891231962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2:$Q$2</c:f>
              <c:numCache>
                <c:formatCode>General</c:formatCode>
                <c:ptCount val="17"/>
                <c:pt idx="0">
                  <c:v>21.1</c:v>
                </c:pt>
                <c:pt idx="1">
                  <c:v>22.2</c:v>
                </c:pt>
                <c:pt idx="2">
                  <c:v>24.6</c:v>
                </c:pt>
                <c:pt idx="3">
                  <c:v>28.7</c:v>
                </c:pt>
                <c:pt idx="4">
                  <c:v>34.700000000000003</c:v>
                </c:pt>
                <c:pt idx="5">
                  <c:v>34.5</c:v>
                </c:pt>
                <c:pt idx="6">
                  <c:v>36.4</c:v>
                </c:pt>
                <c:pt idx="7">
                  <c:v>36.799999999999997</c:v>
                </c:pt>
                <c:pt idx="8">
                  <c:v>37.299999999999997</c:v>
                </c:pt>
                <c:pt idx="9">
                  <c:v>37.7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CC0-4577-A69E-2565665FF808}"/>
            </c:ext>
          </c:extLst>
        </c:ser>
        <c:ser>
          <c:idx val="1"/>
          <c:order val="1"/>
          <c:spPr>
            <a:ln w="12700" cmpd="sng" algn="ctr">
              <a:solidFill>
                <a:srgbClr val="3DC0A7"/>
              </a:solidFill>
              <a:prstDash val="lgDash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3:$Q$3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35.489999999999995</c:v>
                </c:pt>
                <c:pt idx="11">
                  <c:v>33.564999999999998</c:v>
                </c:pt>
                <c:pt idx="12">
                  <c:v>31.64</c:v>
                </c:pt>
                <c:pt idx="13">
                  <c:v>24.05</c:v>
                </c:pt>
                <c:pt idx="14">
                  <c:v>9.8699999999999992</c:v>
                </c:pt>
                <c:pt idx="15">
                  <c:v>-3.04</c:v>
                </c:pt>
                <c:pt idx="16">
                  <c:v>-8.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CC0-4577-A69E-2565665FF808}"/>
            </c:ext>
          </c:extLst>
        </c:ser>
        <c:ser>
          <c:idx val="2"/>
          <c:order val="2"/>
          <c:spPr>
            <a:ln w="28575" cmpd="sng" algn="ctr">
              <a:solidFill>
                <a:srgbClr val="EA6041"/>
              </a:solidFill>
              <a:prstDash val="solid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4:$Q$4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40.25</c:v>
                </c:pt>
                <c:pt idx="11">
                  <c:v>40.879999999999995</c:v>
                </c:pt>
                <c:pt idx="12">
                  <c:v>41.51</c:v>
                </c:pt>
                <c:pt idx="13">
                  <c:v>39.74</c:v>
                </c:pt>
                <c:pt idx="14">
                  <c:v>36.71</c:v>
                </c:pt>
                <c:pt idx="15">
                  <c:v>23.54</c:v>
                </c:pt>
                <c:pt idx="16">
                  <c:v>7.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CC0-4577-A69E-2565665FF808}"/>
            </c:ext>
          </c:extLst>
        </c:ser>
        <c:ser>
          <c:idx val="3"/>
          <c:order val="3"/>
          <c:spPr>
            <a:ln w="9525" cmpd="sng" algn="ctr">
              <a:solidFill>
                <a:srgbClr val="C30C3E"/>
              </a:solidFill>
              <a:prstDash val="lgDash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5:$Q$5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42.375</c:v>
                </c:pt>
                <c:pt idx="11">
                  <c:v>46.1875</c:v>
                </c:pt>
                <c:pt idx="12">
                  <c:v>50</c:v>
                </c:pt>
                <c:pt idx="13">
                  <c:v>65.12</c:v>
                </c:pt>
                <c:pt idx="14">
                  <c:v>70.36</c:v>
                </c:pt>
                <c:pt idx="15">
                  <c:v>76.25</c:v>
                </c:pt>
                <c:pt idx="16">
                  <c:v>84.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3CC0-4577-A69E-2565665FF808}"/>
            </c:ext>
          </c:extLst>
        </c:ser>
        <c:ser>
          <c:idx val="4"/>
          <c:order val="4"/>
          <c:spPr>
            <a:ln w="12700" cmpd="sng" algn="ctr">
              <a:solidFill>
                <a:schemeClr val="accent1"/>
              </a:solidFill>
              <a:prstDash val="lgDash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6:$Q$6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25.111999999999998</c:v>
                </c:pt>
                <c:pt idx="11">
                  <c:v>13.484999999999999</c:v>
                </c:pt>
                <c:pt idx="12">
                  <c:v>6.2210000000000001</c:v>
                </c:pt>
                <c:pt idx="13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3CC0-4577-A69E-2565665FF808}"/>
            </c:ext>
          </c:extLst>
        </c:ser>
        <c:ser>
          <c:idx val="5"/>
          <c:order val="5"/>
          <c:spPr>
            <a:ln w="12700" cmpd="sng" algn="ctr">
              <a:solidFill>
                <a:srgbClr val="F7C100"/>
              </a:solidFill>
              <a:prstDash val="lgDash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7:$Q$7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32.055999999999997</c:v>
                </c:pt>
                <c:pt idx="11">
                  <c:v>24.678000000000001</c:v>
                </c:pt>
                <c:pt idx="12">
                  <c:v>18.82</c:v>
                </c:pt>
                <c:pt idx="13">
                  <c:v>11.711</c:v>
                </c:pt>
                <c:pt idx="14">
                  <c:v>8.8172399889954942</c:v>
                </c:pt>
                <c:pt idx="15">
                  <c:v>6.6385211359867862</c:v>
                </c:pt>
                <c:pt idx="16">
                  <c:v>4.99815848586922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3CC0-4577-A69E-2565665FF808}"/>
            </c:ext>
          </c:extLst>
        </c:ser>
        <c:ser>
          <c:idx val="6"/>
          <c:order val="6"/>
          <c:spPr>
            <a:ln w="12700" cmpd="sng" algn="ctr">
              <a:solidFill>
                <a:srgbClr val="FF9004"/>
              </a:solidFill>
              <a:prstDash val="lgDash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8:$Q$8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36.17</c:v>
                </c:pt>
                <c:pt idx="11">
                  <c:v>33.284999999999997</c:v>
                </c:pt>
                <c:pt idx="12">
                  <c:v>31.184999999999999</c:v>
                </c:pt>
                <c:pt idx="13">
                  <c:v>28.635999999999999</c:v>
                </c:pt>
                <c:pt idx="14">
                  <c:v>26.790854021637365</c:v>
                </c:pt>
                <c:pt idx="15">
                  <c:v>25.064599078386752</c:v>
                </c:pt>
                <c:pt idx="16">
                  <c:v>23.4495744873559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3CC0-4577-A69E-2565665FF808}"/>
            </c:ext>
          </c:extLst>
        </c:ser>
        <c:ser>
          <c:idx val="7"/>
          <c:order val="7"/>
          <c:spPr>
            <a:ln w="38100" cmpd="sng" algn="ctr">
              <a:solidFill>
                <a:srgbClr val="FFE54F"/>
              </a:solidFill>
              <a:prstDash val="solid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9:$Q$9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41.96</c:v>
                </c:pt>
                <c:pt idx="11">
                  <c:v>39.18</c:v>
                </c:pt>
                <c:pt idx="12">
                  <c:v>36.090000000000003</c:v>
                </c:pt>
                <c:pt idx="13">
                  <c:v>27.65</c:v>
                </c:pt>
                <c:pt idx="14">
                  <c:v>20.13</c:v>
                </c:pt>
                <c:pt idx="15">
                  <c:v>11.69</c:v>
                </c:pt>
                <c:pt idx="16">
                  <c:v>6.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3CC0-4577-A69E-2565665FF808}"/>
            </c:ext>
          </c:extLst>
        </c:ser>
        <c:ser>
          <c:idx val="8"/>
          <c:order val="8"/>
          <c:spPr>
            <a:ln w="9525" cmpd="sng" algn="ctr">
              <a:solidFill>
                <a:schemeClr val="accent6"/>
              </a:solidFill>
              <a:prstDash val="lgDash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10:$Q$10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35.090000000000003</c:v>
                </c:pt>
                <c:pt idx="11">
                  <c:v>26.51</c:v>
                </c:pt>
                <c:pt idx="12">
                  <c:v>18.38</c:v>
                </c:pt>
                <c:pt idx="13">
                  <c:v>0</c:v>
                </c:pt>
                <c:pt idx="14">
                  <c:v>-7.47</c:v>
                </c:pt>
                <c:pt idx="15">
                  <c:v>-12.1</c:v>
                </c:pt>
                <c:pt idx="16">
                  <c:v>-14.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3CC0-4577-A69E-2565665FF808}"/>
            </c:ext>
          </c:extLst>
        </c:ser>
        <c:ser>
          <c:idx val="9"/>
          <c:order val="9"/>
          <c:spPr>
            <a:ln w="9525" cmpd="sng" algn="ctr">
              <a:solidFill>
                <a:srgbClr val="AAD16E"/>
              </a:solidFill>
              <a:prstDash val="lgDash"/>
            </a:ln>
          </c:spPr>
          <c:marker>
            <c:symbol val="none"/>
          </c:marker>
          <c:xVal>
            <c:numRef>
              <c:f>Sheet1!$A$1:$Q$1</c:f>
              <c:numCache>
                <c:formatCode>General</c:formatCode>
                <c:ptCount val="17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5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50</c:v>
                </c:pt>
                <c:pt idx="14">
                  <c:v>2060</c:v>
                </c:pt>
                <c:pt idx="15">
                  <c:v>2080</c:v>
                </c:pt>
                <c:pt idx="16">
                  <c:v>2100</c:v>
                </c:pt>
              </c:numCache>
            </c:numRef>
          </c:xVal>
          <c:yVal>
            <c:numRef>
              <c:f>Sheet1!$A$11:$Q$11</c:f>
              <c:numCache>
                <c:formatCode>General</c:formatCode>
                <c:ptCount val="17"/>
                <c:pt idx="9">
                  <c:v>37.799999999999997</c:v>
                </c:pt>
                <c:pt idx="10">
                  <c:v>40.93</c:v>
                </c:pt>
                <c:pt idx="11">
                  <c:v>38.15</c:v>
                </c:pt>
                <c:pt idx="12">
                  <c:v>33.93</c:v>
                </c:pt>
                <c:pt idx="13">
                  <c:v>23.32</c:v>
                </c:pt>
                <c:pt idx="14">
                  <c:v>11.68</c:v>
                </c:pt>
                <c:pt idx="15">
                  <c:v>0.56000000000000005</c:v>
                </c:pt>
                <c:pt idx="16">
                  <c:v>-6.4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3CC0-4577-A69E-2565665FF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100"/>
          <c:min val="199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At val="0"/>
        <c:crossBetween val="midCat"/>
      </c:valAx>
      <c:valAx>
        <c:axId val="5"/>
        <c:scaling>
          <c:orientation val="minMax"/>
          <c:max val="90"/>
          <c:min val="-15"/>
        </c:scaling>
        <c:delete val="0"/>
        <c:axPos val="l"/>
        <c:majorGridlines>
          <c:spPr>
            <a:ln w="12700" cmpd="sng" algn="ctr">
              <a:solidFill>
                <a:schemeClr val="tx2"/>
              </a:solidFill>
              <a:prstDash val="solid"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4"/>
        <c:crosses val="min"/>
        <c:crossBetween val="midCat"/>
        <c:majorUnit val="1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65076660988075"/>
          <c:y val="7.6467420570813141E-2"/>
          <c:w val="0.83134582623509368"/>
          <c:h val="0.847065158858373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AF5-4C90-ABE3-A29930695B73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AF5-4C90-ABE3-A29930695B73}"/>
              </c:ext>
            </c:extLst>
          </c:dPt>
          <c:dLbls>
            <c:dLbl>
              <c:idx val="11"/>
              <c:layout>
                <c:manualLayout>
                  <c:x val="0"/>
                  <c:y val="-0.156165858912224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AF5-4C90-ABE3-A29930695B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P$1</c:f>
              <c:numCache>
                <c:formatCode>General</c:formatCode>
                <c:ptCount val="16"/>
                <c:pt idx="0">
                  <c:v>341</c:v>
                </c:pt>
                <c:pt idx="1">
                  <c:v>383</c:v>
                </c:pt>
                <c:pt idx="2">
                  <c:v>426</c:v>
                </c:pt>
                <c:pt idx="3">
                  <c:v>456</c:v>
                </c:pt>
                <c:pt idx="4">
                  <c:v>518</c:v>
                </c:pt>
                <c:pt idx="5">
                  <c:v>576</c:v>
                </c:pt>
                <c:pt idx="6">
                  <c:v>929</c:v>
                </c:pt>
                <c:pt idx="7">
                  <c:v>1177</c:v>
                </c:pt>
                <c:pt idx="8">
                  <c:v>1517</c:v>
                </c:pt>
                <c:pt idx="9">
                  <c:v>1881</c:v>
                </c:pt>
                <c:pt idx="10">
                  <c:v>2083</c:v>
                </c:pt>
                <c:pt idx="11">
                  <c:v>2300</c:v>
                </c:pt>
                <c:pt idx="13">
                  <c:v>5575</c:v>
                </c:pt>
                <c:pt idx="15">
                  <c:v>7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F5-4C90-ABE3-A29930695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55363072"/>
        <c:axId val="1"/>
      </c:barChart>
      <c:catAx>
        <c:axId val="1855363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5363072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679639297579496E-2"/>
          <c:y val="2.8792912513842746E-2"/>
          <c:w val="0.95064072140484102"/>
          <c:h val="0.94241417497231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173.5</c:v>
                </c:pt>
                <c:pt idx="1">
                  <c:v>187.7</c:v>
                </c:pt>
                <c:pt idx="2">
                  <c:v>207.7</c:v>
                </c:pt>
                <c:pt idx="3">
                  <c:v>221.3</c:v>
                </c:pt>
                <c:pt idx="4">
                  <c:v>247.5</c:v>
                </c:pt>
                <c:pt idx="5">
                  <c:v>247.1</c:v>
                </c:pt>
                <c:pt idx="6">
                  <c:v>240.2</c:v>
                </c:pt>
                <c:pt idx="7">
                  <c:v>326.39999999999998</c:v>
                </c:pt>
                <c:pt idx="8">
                  <c:v>438.7</c:v>
                </c:pt>
                <c:pt idx="9">
                  <c:v>462.1</c:v>
                </c:pt>
                <c:pt idx="10">
                  <c:v>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6A-42B7-9922-BD29E4A1BF05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K$2</c:f>
              <c:numCache>
                <c:formatCode>General</c:formatCode>
                <c:ptCount val="11"/>
                <c:pt idx="0">
                  <c:v>153</c:v>
                </c:pt>
                <c:pt idx="1">
                  <c:v>161.69999999999999</c:v>
                </c:pt>
                <c:pt idx="2">
                  <c:v>155.09999999999997</c:v>
                </c:pt>
                <c:pt idx="3">
                  <c:v>151.60000000000002</c:v>
                </c:pt>
                <c:pt idx="4">
                  <c:v>134.10000000000002</c:v>
                </c:pt>
                <c:pt idx="5">
                  <c:v>125.79999999999998</c:v>
                </c:pt>
                <c:pt idx="6">
                  <c:v>125.69999999999999</c:v>
                </c:pt>
                <c:pt idx="7">
                  <c:v>139</c:v>
                </c:pt>
                <c:pt idx="8">
                  <c:v>144.59999999999997</c:v>
                </c:pt>
                <c:pt idx="9">
                  <c:v>169.69999999999993</c:v>
                </c:pt>
                <c:pt idx="10">
                  <c:v>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6A-42B7-9922-BD29E4A1BF05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3:$K$3</c:f>
              <c:numCache>
                <c:formatCode>General</c:formatCode>
                <c:ptCount val="11"/>
                <c:pt idx="0">
                  <c:v>57.077200000000005</c:v>
                </c:pt>
                <c:pt idx="1">
                  <c:v>74.292419999999993</c:v>
                </c:pt>
                <c:pt idx="2">
                  <c:v>80.460440000000006</c:v>
                </c:pt>
                <c:pt idx="3">
                  <c:v>69.32117999999997</c:v>
                </c:pt>
                <c:pt idx="4">
                  <c:v>53.486859999999979</c:v>
                </c:pt>
                <c:pt idx="5">
                  <c:v>57.997799999999984</c:v>
                </c:pt>
                <c:pt idx="6">
                  <c:v>80.460440000000006</c:v>
                </c:pt>
                <c:pt idx="7">
                  <c:v>111.66877999999997</c:v>
                </c:pt>
                <c:pt idx="8">
                  <c:v>104.67222000000004</c:v>
                </c:pt>
                <c:pt idx="9">
                  <c:v>103.29132000000004</c:v>
                </c:pt>
                <c:pt idx="10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6A-42B7-9922-BD29E4A1BF05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4:$K$4</c:f>
              <c:numCache>
                <c:formatCode>General</c:formatCode>
                <c:ptCount val="11"/>
                <c:pt idx="0">
                  <c:v>20.899999999999977</c:v>
                </c:pt>
                <c:pt idx="1">
                  <c:v>20.199999999999989</c:v>
                </c:pt>
                <c:pt idx="2">
                  <c:v>17.399999999999977</c:v>
                </c:pt>
                <c:pt idx="3">
                  <c:v>16.699999999999989</c:v>
                </c:pt>
                <c:pt idx="4">
                  <c:v>17.100000000000023</c:v>
                </c:pt>
                <c:pt idx="5">
                  <c:v>17.800000000000011</c:v>
                </c:pt>
                <c:pt idx="6">
                  <c:v>20.300000000000011</c:v>
                </c:pt>
                <c:pt idx="7">
                  <c:v>22.399999999999977</c:v>
                </c:pt>
                <c:pt idx="8">
                  <c:v>26.899999999999977</c:v>
                </c:pt>
                <c:pt idx="9">
                  <c:v>32.399999999999977</c:v>
                </c:pt>
                <c:pt idx="10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6A-42B7-9922-BD29E4A1BF05}"/>
            </c:ext>
          </c:extLst>
        </c:ser>
        <c:ser>
          <c:idx val="4"/>
          <c:order val="4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5:$K$5</c:f>
              <c:numCache>
                <c:formatCode>General</c:formatCode>
                <c:ptCount val="11"/>
                <c:pt idx="0">
                  <c:v>4.9227999999999952</c:v>
                </c:pt>
                <c:pt idx="1">
                  <c:v>6.4075799999999958</c:v>
                </c:pt>
                <c:pt idx="2">
                  <c:v>6.9395599999999718</c:v>
                </c:pt>
                <c:pt idx="3">
                  <c:v>5.9788199999999847</c:v>
                </c:pt>
                <c:pt idx="4">
                  <c:v>4.6131399999999871</c:v>
                </c:pt>
                <c:pt idx="5">
                  <c:v>5.0022000000000162</c:v>
                </c:pt>
                <c:pt idx="6">
                  <c:v>6.9395600000000286</c:v>
                </c:pt>
                <c:pt idx="7">
                  <c:v>9.6312199999999848</c:v>
                </c:pt>
                <c:pt idx="8">
                  <c:v>9.027780000000007</c:v>
                </c:pt>
                <c:pt idx="9">
                  <c:v>8.9086800000000039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26A-42B7-9922-BD29E4A1BF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56991519"/>
        <c:axId val="1"/>
      </c:barChart>
      <c:catAx>
        <c:axId val="1156991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6991519"/>
        <c:crosses val="max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602860286028604E-2"/>
          <c:y val="2.8792912513842746E-2"/>
          <c:w val="0.94279427942794281"/>
          <c:h val="0.94241417497231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66.3</c:v>
                </c:pt>
                <c:pt idx="1">
                  <c:v>64.2</c:v>
                </c:pt>
                <c:pt idx="2">
                  <c:v>52.4</c:v>
                </c:pt>
                <c:pt idx="3">
                  <c:v>58.4</c:v>
                </c:pt>
                <c:pt idx="4">
                  <c:v>65.400000000000006</c:v>
                </c:pt>
                <c:pt idx="5">
                  <c:v>68.2</c:v>
                </c:pt>
                <c:pt idx="6">
                  <c:v>70.599999999999994</c:v>
                </c:pt>
                <c:pt idx="7">
                  <c:v>79.8</c:v>
                </c:pt>
                <c:pt idx="8">
                  <c:v>96.1</c:v>
                </c:pt>
                <c:pt idx="9">
                  <c:v>107.4</c:v>
                </c:pt>
                <c:pt idx="10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EB-4707-B452-DC0EA1134495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K$2</c:f>
              <c:numCache>
                <c:formatCode>General</c:formatCode>
                <c:ptCount val="11"/>
                <c:pt idx="0">
                  <c:v>69.399999999999991</c:v>
                </c:pt>
                <c:pt idx="1">
                  <c:v>70.999999999999986</c:v>
                </c:pt>
                <c:pt idx="2">
                  <c:v>72.899999999999977</c:v>
                </c:pt>
                <c:pt idx="3">
                  <c:v>73.5</c:v>
                </c:pt>
                <c:pt idx="4">
                  <c:v>76.5</c:v>
                </c:pt>
                <c:pt idx="5">
                  <c:v>82.8</c:v>
                </c:pt>
                <c:pt idx="6">
                  <c:v>92.6</c:v>
                </c:pt>
                <c:pt idx="7">
                  <c:v>102.09999999999998</c:v>
                </c:pt>
                <c:pt idx="8">
                  <c:v>116.4</c:v>
                </c:pt>
                <c:pt idx="9">
                  <c:v>130.5</c:v>
                </c:pt>
                <c:pt idx="10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EB-4707-B452-DC0EA1134495}"/>
            </c:ext>
          </c:extLst>
        </c:ser>
        <c:ser>
          <c:idx val="2"/>
          <c:order val="2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3:$K$3</c:f>
              <c:numCache>
                <c:formatCode>General</c:formatCode>
                <c:ptCount val="11"/>
                <c:pt idx="0">
                  <c:v>22.462639999999993</c:v>
                </c:pt>
                <c:pt idx="1">
                  <c:v>25.408559999999994</c:v>
                </c:pt>
                <c:pt idx="2">
                  <c:v>30.93216000000001</c:v>
                </c:pt>
                <c:pt idx="3">
                  <c:v>31.576580000000007</c:v>
                </c:pt>
                <c:pt idx="4">
                  <c:v>35.995460000000008</c:v>
                </c:pt>
                <c:pt idx="5">
                  <c:v>36.547820000000002</c:v>
                </c:pt>
                <c:pt idx="6">
                  <c:v>40.598459999999989</c:v>
                </c:pt>
                <c:pt idx="7">
                  <c:v>42.992019999999997</c:v>
                </c:pt>
                <c:pt idx="8">
                  <c:v>55.420119999999997</c:v>
                </c:pt>
                <c:pt idx="9">
                  <c:v>59.194580000000002</c:v>
                </c:pt>
                <c:pt idx="10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EB-4707-B452-DC0EA1134495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4:$K$4</c:f>
              <c:numCache>
                <c:formatCode>General</c:formatCode>
                <c:ptCount val="11"/>
                <c:pt idx="0">
                  <c:v>13.199999999999989</c:v>
                </c:pt>
                <c:pt idx="1">
                  <c:v>12</c:v>
                </c:pt>
                <c:pt idx="2">
                  <c:v>10.800000000000011</c:v>
                </c:pt>
                <c:pt idx="3">
                  <c:v>9.4000000000000057</c:v>
                </c:pt>
                <c:pt idx="4">
                  <c:v>7</c:v>
                </c:pt>
                <c:pt idx="5">
                  <c:v>4.4000000000000057</c:v>
                </c:pt>
                <c:pt idx="6">
                  <c:v>5.0999999999999943</c:v>
                </c:pt>
                <c:pt idx="7">
                  <c:v>8.1999999999999886</c:v>
                </c:pt>
                <c:pt idx="8">
                  <c:v>10.699999999999989</c:v>
                </c:pt>
                <c:pt idx="9">
                  <c:v>12</c:v>
                </c:pt>
                <c:pt idx="1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EB-4707-B452-DC0EA1134495}"/>
            </c:ext>
          </c:extLst>
        </c:ser>
        <c:ser>
          <c:idx val="4"/>
          <c:order val="4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5:$K$5</c:f>
              <c:numCache>
                <c:formatCode>General</c:formatCode>
                <c:ptCount val="11"/>
                <c:pt idx="0">
                  <c:v>1.9373600000000124</c:v>
                </c:pt>
                <c:pt idx="1">
                  <c:v>2.1914400000000001</c:v>
                </c:pt>
                <c:pt idx="2">
                  <c:v>2.6678400000000124</c:v>
                </c:pt>
                <c:pt idx="3">
                  <c:v>2.7234200000000044</c:v>
                </c:pt>
                <c:pt idx="4">
                  <c:v>3.1045399999999859</c:v>
                </c:pt>
                <c:pt idx="5">
                  <c:v>3.1521800000000155</c:v>
                </c:pt>
                <c:pt idx="6">
                  <c:v>3.5015400000000056</c:v>
                </c:pt>
                <c:pt idx="7">
                  <c:v>3.7079799999999921</c:v>
                </c:pt>
                <c:pt idx="8">
                  <c:v>4.7798799999999915</c:v>
                </c:pt>
                <c:pt idx="9">
                  <c:v>5.105419999999981</c:v>
                </c:pt>
                <c:pt idx="1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9EB-4707-B452-DC0EA11344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85248240"/>
        <c:axId val="1"/>
      </c:barChart>
      <c:catAx>
        <c:axId val="1585248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585248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7.2970195272353544E-2"/>
          <c:w val="0.96277738010021474"/>
          <c:h val="0.854059609455292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138746145940390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5CC-424C-9FE4-CAEF4C00C16F}"/>
                </c:ext>
              </c:extLst>
            </c:dLbl>
            <c:dLbl>
              <c:idx val="1"/>
              <c:layout>
                <c:manualLayout>
                  <c:x val="0"/>
                  <c:y val="-5.138746145940390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5CC-424C-9FE4-CAEF4C00C16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5CC-424C-9FE4-CAEF4C00C16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5CC-424C-9FE4-CAEF4C00C16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5CC-424C-9FE4-CAEF4C00C16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5CC-424C-9FE4-CAEF4C00C16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82</c:v>
                </c:pt>
                <c:pt idx="1">
                  <c:v>463</c:v>
                </c:pt>
                <c:pt idx="2">
                  <c:v>568</c:v>
                </c:pt>
                <c:pt idx="3">
                  <c:v>675</c:v>
                </c:pt>
                <c:pt idx="4">
                  <c:v>728</c:v>
                </c:pt>
                <c:pt idx="5">
                  <c:v>6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5CC-424C-9FE4-CAEF4C00C16F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5CC-424C-9FE4-CAEF4C00C16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5CC-424C-9FE4-CAEF4C00C16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5CC-424C-9FE4-CAEF4C00C16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5CC-424C-9FE4-CAEF4C00C16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5CC-424C-9FE4-CAEF4C00C16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5CC-424C-9FE4-CAEF4C00C16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273</c:v>
                </c:pt>
                <c:pt idx="1">
                  <c:v>280</c:v>
                </c:pt>
                <c:pt idx="2">
                  <c:v>327</c:v>
                </c:pt>
                <c:pt idx="3">
                  <c:v>392</c:v>
                </c:pt>
                <c:pt idx="4">
                  <c:v>448</c:v>
                </c:pt>
                <c:pt idx="5">
                  <c:v>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5CC-424C-9FE4-CAEF4C00C16F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138746145940390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5CC-424C-9FE4-CAEF4C00C16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C5CC-424C-9FE4-CAEF4C00C16F}"/>
                </c:ext>
              </c:extLst>
            </c:dLbl>
            <c:dLbl>
              <c:idx val="2"/>
              <c:layout>
                <c:manualLayout>
                  <c:x val="0"/>
                  <c:y val="-5.138746145940390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C5CC-424C-9FE4-CAEF4C00C16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C5CC-424C-9FE4-CAEF4C00C16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C5CC-424C-9FE4-CAEF4C00C16F}"/>
                </c:ext>
              </c:extLst>
            </c:dLbl>
            <c:dLbl>
              <c:idx val="5"/>
              <c:layout>
                <c:manualLayout>
                  <c:x val="0"/>
                  <c:y val="-5.138746145940390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C5CC-424C-9FE4-CAEF4C00C16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215</c:v>
                </c:pt>
                <c:pt idx="1">
                  <c:v>369</c:v>
                </c:pt>
                <c:pt idx="2">
                  <c:v>550</c:v>
                </c:pt>
                <c:pt idx="3">
                  <c:v>711</c:v>
                </c:pt>
                <c:pt idx="4">
                  <c:v>834</c:v>
                </c:pt>
                <c:pt idx="5">
                  <c:v>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C5CC-424C-9FE4-CAEF4C00C16F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30</c:v>
                </c:pt>
                <c:pt idx="1">
                  <c:v>32</c:v>
                </c:pt>
                <c:pt idx="2">
                  <c:v>35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C5CC-424C-9FE4-CAEF4C00C16F}"/>
            </c:ext>
          </c:extLst>
        </c:ser>
        <c:ser>
          <c:idx val="4"/>
          <c:order val="4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29</c:v>
                </c:pt>
                <c:pt idx="1">
                  <c:v>33</c:v>
                </c:pt>
                <c:pt idx="2">
                  <c:v>37</c:v>
                </c:pt>
                <c:pt idx="3">
                  <c:v>69</c:v>
                </c:pt>
                <c:pt idx="4">
                  <c:v>39</c:v>
                </c:pt>
                <c:pt idx="5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C5CC-424C-9FE4-CAEF4C00C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5251023"/>
        <c:axId val="1"/>
      </c:barChart>
      <c:catAx>
        <c:axId val="8752510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1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8752510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E05374-F0A1-41EC-9E07-A6D0D2AEDA1D}" type="datetimeFigureOut">
              <a:rPr lang="en-US" smtClean="0"/>
              <a:t>2/2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2026DD-9B05-49FD-8387-C9B0870D6C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0537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95DE1E-6E8F-FD5A-16C8-C77DF60FE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0B00E0-65CE-EBE6-8710-84823EAD7F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E1E469-6DD7-D89B-495A-B2641C437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3D7EA-14FA-4D28-72CB-EF3702BCD5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2026DD-9B05-49FD-8387-C9B0870D6C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5784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2026DD-9B05-49FD-8387-C9B0870D6C7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24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hyperlink" Target="https://business.columbia.edu/insights/climate/cki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hyperlink" Target="https://business.columbia.edu/faculty/people/gernot-wagner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hyperlink" Target="https://business.columbia.edu/insights/climate/cki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hyperlink" Target="https://business.columbia.edu/faculty/people/gernot-wagner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hyperlink" Target="mailto:af3487@columbia.edu" TargetMode="External"/><Relationship Id="rId3" Type="http://schemas.openxmlformats.org/officeDocument/2006/relationships/oleObject" Target="../embeddings/oleObject8.bin"/><Relationship Id="rId7" Type="http://schemas.openxmlformats.org/officeDocument/2006/relationships/hyperlink" Target="https://business.columbia.edu/insights/climate/cki" TargetMode="External"/><Relationship Id="rId12" Type="http://schemas.openxmlformats.org/officeDocument/2006/relationships/hyperlink" Target="mailto:ih2428@columbia.edu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hyperlink" Target="https://business.columbia.edu/faculty/people/gernot-wagner" TargetMode="External"/><Relationship Id="rId11" Type="http://schemas.openxmlformats.org/officeDocument/2006/relationships/image" Target="../media/image12.png"/><Relationship Id="rId5" Type="http://schemas.openxmlformats.org/officeDocument/2006/relationships/image" Target="../media/image7.png"/><Relationship Id="rId15" Type="http://schemas.openxmlformats.org/officeDocument/2006/relationships/hyperlink" Target="mailto:gwagner@columbia.edu" TargetMode="External"/><Relationship Id="rId10" Type="http://schemas.openxmlformats.org/officeDocument/2006/relationships/image" Target="../media/image11.jpeg"/><Relationship Id="rId4" Type="http://schemas.openxmlformats.org/officeDocument/2006/relationships/image" Target="../media/image8.emf"/><Relationship Id="rId9" Type="http://schemas.openxmlformats.org/officeDocument/2006/relationships/image" Target="../media/image10.png"/><Relationship Id="rId14" Type="http://schemas.openxmlformats.org/officeDocument/2006/relationships/hyperlink" Target="mailto:pm3346@columbia.edu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1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hyperlink" Target="https://business.columbia.edu/insights/climate/cki" TargetMode="External"/><Relationship Id="rId5" Type="http://schemas.openxmlformats.org/officeDocument/2006/relationships/hyperlink" Target="https://business.columbia.edu/faculty/people/gernot-wagner" TargetMode="Externa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BEEFE8-08DB-4323-1C3F-1B2713BA00F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2824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BEEFE8-08DB-4323-1C3F-1B2713BA0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0951" y="3302241"/>
            <a:ext cx="6432630" cy="1605426"/>
          </a:xfrm>
          <a:prstGeom prst="rect">
            <a:avLst/>
          </a:prstGeom>
        </p:spPr>
        <p:txBody>
          <a:bodyPr vert="horz" lIns="0" tIns="91440" rIns="0" bIns="0" anchor="t" anchorCtr="0">
            <a:noAutofit/>
          </a:bodyPr>
          <a:lstStyle>
            <a:lvl1pPr>
              <a:lnSpc>
                <a:spcPts val="3600"/>
              </a:lnSpc>
              <a:defRPr sz="48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Deck Title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330541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uthors in form of “Lead author et al.”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0951" y="493776"/>
            <a:ext cx="2699675" cy="47734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A2289A3-013E-4D53-1C0B-46D992933E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0951" y="1046371"/>
            <a:ext cx="6580849" cy="64716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riginally Published: </a:t>
            </a:r>
            <a:r>
              <a:rPr lang="en-US" i="1" dirty="0"/>
              <a:t>Insert date of originally published deck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FFBB5DA-1299-663D-F35D-52A8B19F24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1451" y="5868151"/>
            <a:ext cx="4703063" cy="64716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400" dirty="0">
                <a:latin typeface="Arial"/>
                <a:cs typeface="Arial"/>
              </a:rPr>
              <a:t>Cite as:</a:t>
            </a:r>
            <a:r>
              <a:rPr lang="en-US" sz="1400" i="1" dirty="0">
                <a:latin typeface="Arial"/>
                <a:cs typeface="Arial"/>
              </a:rPr>
              <a:t> Lead author et al</a:t>
            </a:r>
            <a:r>
              <a:rPr lang="en-US" sz="1400" dirty="0">
                <a:latin typeface="Arial"/>
                <a:cs typeface="Arial"/>
              </a:rPr>
              <a:t>. ”Deck Title," Columbia Business School Climate Knowledge Initiative (Date).</a:t>
            </a:r>
            <a:endParaRPr lang="en-US" sz="14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2017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8225C8-4915-8CC0-16E1-F4360ABECE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24D32E-A984-55C4-82E1-CC1C751DA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0FCD16-E095-44F9-ED74-4697D5240F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276481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5A0740-5308-CBF0-81F8-92FACC0E5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C78BD8F-C645-A2A2-1872-C72128CDC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98225C8-4915-8CC0-16E1-F4360ABECE6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2195551"/>
            <a:ext cx="11522075" cy="390044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btfpColumnHeaderBoxLine984923">
            <a:extLst>
              <a:ext uri="{FF2B5EF4-FFF2-40B4-BE49-F238E27FC236}">
                <a16:creationId xmlns:a16="http://schemas.microsoft.com/office/drawing/2014/main" id="{E72DFAE3-4892-5F57-4AB8-649E2B0A9BE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F8F52-E9D4-90AB-9F09-6D9707D6F6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328199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AE98D010-549A-A025-29B5-49A6F329B6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8707437" cy="45466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3271FAA-0686-C771-4C7B-680159526E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spcBef>
                <a:spcPts val="0"/>
              </a:spcBef>
              <a:defRPr sz="1250"/>
            </a:lvl1pPr>
            <a:lvl2pPr>
              <a:spcBef>
                <a:spcPts val="0"/>
              </a:spcBef>
              <a:defRPr sz="850"/>
            </a:lvl2pPr>
            <a:lvl3pPr>
              <a:spcBef>
                <a:spcPts val="0"/>
              </a:spcBef>
              <a:defRPr sz="850"/>
            </a:lvl3pPr>
            <a:lvl4pPr>
              <a:spcBef>
                <a:spcPts val="0"/>
              </a:spcBef>
              <a:defRPr sz="850"/>
            </a:lvl4pPr>
            <a:lvl5pPr>
              <a:spcBef>
                <a:spcPts val="0"/>
              </a:spcBef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EFBAF13-868F-823F-B62A-D77B0C5CA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32ABF13-B84D-B6C8-EE75-A4EACBD400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27738275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2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FF6FD58-FC49-7EB0-3AEE-3FEA7DD44A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958387B-91EE-08AB-952A-D9B8293F4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68152B3-A76C-656C-D2A8-3EDB6FD9FA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5" name="btfpColumnHeaderBoxLine984923">
            <a:extLst>
              <a:ext uri="{FF2B5EF4-FFF2-40B4-BE49-F238E27FC236}">
                <a16:creationId xmlns:a16="http://schemas.microsoft.com/office/drawing/2014/main" id="{BC58DB62-0D37-3013-F7F2-3C333396ABC5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7EA99EA0-90F1-5D82-C56B-2EBDE2D41D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34963" y="2195551"/>
            <a:ext cx="8707437" cy="390044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369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hree graphs + observation box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2" y="2195551"/>
            <a:ext cx="4172467" cy="3897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25239D60-50FE-4A30-C6B8-FE10B4E8168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15962" y="2195551"/>
            <a:ext cx="4172467" cy="3897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3" y="1498005"/>
            <a:ext cx="4172467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243"/>
            <a:ext cx="4172467" cy="402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1B043F75-ADAD-E3F4-AC3B-0934B1377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888" y="1498005"/>
            <a:ext cx="4172467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3" name="btfpColumnHeaderBoxLine984923">
            <a:extLst>
              <a:ext uri="{FF2B5EF4-FFF2-40B4-BE49-F238E27FC236}">
                <a16:creationId xmlns:a16="http://schemas.microsoft.com/office/drawing/2014/main" id="{EBA42865-E9BF-9021-F00F-FEDE0073E8F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815962" y="2046243"/>
            <a:ext cx="4172467" cy="402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4E519E3-5A3C-AE16-2EA0-D7C52ADA84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8592" y="1549400"/>
            <a:ext cx="2551176" cy="4546600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2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90318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wo graphs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2195551"/>
            <a:ext cx="5659437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defRPr sz="1050"/>
            </a:lvl1pPr>
            <a:lvl2pPr>
              <a:defRPr sz="850"/>
            </a:lvl2pPr>
            <a:lvl3pPr>
              <a:defRPr sz="850"/>
            </a:lvl3pPr>
            <a:lvl4pPr>
              <a:defRPr sz="850"/>
            </a:lvl4pPr>
            <a:lvl5pPr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0" y="2195551"/>
            <a:ext cx="5659437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7B89370-0262-673C-4390-4D6F6ECB8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9F895AC-DA10-B557-FEC7-3A2279464D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36C0F39-69D0-8082-884C-B96604981F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5660136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4" name="btfpColumnHeaderBoxLine984923">
            <a:extLst>
              <a:ext uri="{FF2B5EF4-FFF2-40B4-BE49-F238E27FC236}">
                <a16:creationId xmlns:a16="http://schemas.microsoft.com/office/drawing/2014/main" id="{B4A14286-A8E6-6C25-EA20-6C2C4DF0A51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88D35EC9-D7E8-0768-C34D-1B9BD26927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7600" y="1498005"/>
            <a:ext cx="5660136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8" name="btfpColumnHeaderBoxLine984923">
            <a:extLst>
              <a:ext uri="{FF2B5EF4-FFF2-40B4-BE49-F238E27FC236}">
                <a16:creationId xmlns:a16="http://schemas.microsoft.com/office/drawing/2014/main" id="{DA240AAE-F7E0-B45E-27F6-B687731CB1B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6197600" y="2046377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32481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wo graphs (irregular)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2" y="2195551"/>
            <a:ext cx="7595651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spcBef>
                <a:spcPts val="0"/>
              </a:spcBef>
              <a:defRPr sz="1050"/>
            </a:lvl1pPr>
            <a:lvl2pPr>
              <a:spcBef>
                <a:spcPts val="0"/>
              </a:spcBef>
              <a:defRPr sz="850"/>
            </a:lvl2pPr>
            <a:lvl3pPr>
              <a:spcBef>
                <a:spcPts val="0"/>
              </a:spcBef>
              <a:defRPr sz="850"/>
            </a:lvl3pPr>
            <a:lvl4pPr>
              <a:spcBef>
                <a:spcPts val="0"/>
              </a:spcBef>
              <a:defRPr sz="850"/>
            </a:lvl4pPr>
            <a:lvl5pPr>
              <a:spcBef>
                <a:spcPts val="0"/>
              </a:spcBef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99436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3" y="1498005"/>
            <a:ext cx="7589799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23332" y="2046645"/>
            <a:ext cx="7595652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1A2756-D84F-147B-D478-53700C7415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99436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1" name="btfpColumnHeaderBoxLine984923">
            <a:extLst>
              <a:ext uri="{FF2B5EF4-FFF2-40B4-BE49-F238E27FC236}">
                <a16:creationId xmlns:a16="http://schemas.microsoft.com/office/drawing/2014/main" id="{36C47CE2-4205-71BE-9E78-12F39711319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199436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6628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hree graphs + observat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3DB436DE-44C6-3373-1E4E-2049E92BC53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333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6EE3A2-4F02-E93C-91EF-02A57A2B4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199" y="5498912"/>
            <a:ext cx="11526837" cy="698655"/>
          </a:xfrm>
          <a:prstGeom prst="rect">
            <a:avLst/>
          </a:prstGeom>
          <a:solidFill>
            <a:srgbClr val="E4E8EF"/>
          </a:solidFill>
        </p:spPr>
        <p:txBody>
          <a:bodyPr lIns="137160" tIns="137160" rIns="274320" bIns="137160">
            <a:noAutofit/>
          </a:bodyPr>
          <a:lstStyle>
            <a:lvl1pPr>
              <a:spcBef>
                <a:spcPts val="0"/>
              </a:spcBef>
              <a:defRPr sz="1050"/>
            </a:lvl1pPr>
            <a:lvl2pPr>
              <a:spcBef>
                <a:spcPts val="0"/>
              </a:spcBef>
              <a:defRPr sz="850"/>
            </a:lvl2pPr>
            <a:lvl3pPr>
              <a:spcBef>
                <a:spcPts val="0"/>
              </a:spcBef>
              <a:defRPr sz="850"/>
            </a:lvl3pPr>
            <a:lvl4pPr>
              <a:spcBef>
                <a:spcPts val="0"/>
              </a:spcBef>
              <a:defRPr sz="850"/>
            </a:lvl4pPr>
            <a:lvl5pPr>
              <a:spcBef>
                <a:spcPts val="0"/>
              </a:spcBef>
              <a:defRPr sz="8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15EF536B-BA5E-E2BD-5DC0-2D1FC45CE2A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99436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25239D60-50FE-4A30-C6B8-FE10B4E8168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61384" y="2195551"/>
            <a:ext cx="3657600" cy="31886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60FB955-EE9C-6621-EAC9-55D90C6C7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CF87FD3-FC5B-1DDD-9FB2-38F871EE2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2873BC6-DC55-7609-4EB2-5EB33516E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19" name="btfpColumnHeaderBoxLine984923">
            <a:extLst>
              <a:ext uri="{FF2B5EF4-FFF2-40B4-BE49-F238E27FC236}">
                <a16:creationId xmlns:a16="http://schemas.microsoft.com/office/drawing/2014/main" id="{7739A47F-AF1A-3FB5-50F0-7DDCA0CB28B1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1A2756-D84F-147B-D478-53700C7415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99436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1" name="btfpColumnHeaderBoxLine984923">
            <a:extLst>
              <a:ext uri="{FF2B5EF4-FFF2-40B4-BE49-F238E27FC236}">
                <a16:creationId xmlns:a16="http://schemas.microsoft.com/office/drawing/2014/main" id="{36C47CE2-4205-71BE-9E78-12F39711319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199436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1B043F75-ADAD-E3F4-AC3B-0934B1377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1384" y="1498005"/>
            <a:ext cx="3657600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Subtitle (1 line preferred, 2 lines if necessary)</a:t>
            </a:r>
          </a:p>
        </p:txBody>
      </p:sp>
      <p:cxnSp>
        <p:nvCxnSpPr>
          <p:cNvPr id="23" name="btfpColumnHeaderBoxLine984923">
            <a:extLst>
              <a:ext uri="{FF2B5EF4-FFF2-40B4-BE49-F238E27FC236}">
                <a16:creationId xmlns:a16="http://schemas.microsoft.com/office/drawing/2014/main" id="{EBA42865-E9BF-9021-F00F-FEDE0073E8FE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261384" y="2046377"/>
            <a:ext cx="3657600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78051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FE3CE2-F5EA-5AAC-D0C3-977F6C440E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marL="0" algn="ctr">
              <a:buNone/>
              <a:defRPr sz="1600" b="1"/>
            </a:lvl1pPr>
            <a:lvl2pPr marL="0" algn="ctr">
              <a:buNone/>
              <a:defRPr sz="1600" b="1"/>
            </a:lvl2pPr>
            <a:lvl3pPr marL="0" algn="ctr">
              <a:buNone/>
              <a:defRPr sz="1600" b="1"/>
            </a:lvl3pPr>
            <a:lvl4pPr marL="0" algn="ctr">
              <a:buNone/>
              <a:defRPr sz="1600" b="1"/>
            </a:lvl4pPr>
            <a:lvl5pPr marL="0" algn="ctr">
              <a:buNone/>
              <a:defRPr sz="1600" b="1"/>
            </a:lvl5pPr>
          </a:lstStyle>
          <a:p>
            <a:pPr lvl="1"/>
            <a:r>
              <a:rPr lang="en-US" dirty="0"/>
              <a:t>Case study: [Title]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45D548-844D-AF2E-E504-2AD04B308E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A8FF605-FCA8-C618-E525-9FB2DAC5FBE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23827EC-3F8A-3555-30A8-C7F9A0ABB5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1686519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zation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06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6DFBE172-0623-1731-5367-7D1F9B8DBC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0" algn="ctr">
              <a:buNone/>
              <a:defRPr sz="1600" b="1"/>
            </a:lvl1pPr>
            <a:lvl2pPr marL="0" algn="ctr">
              <a:buNone/>
              <a:defRPr sz="1600" b="1">
                <a:solidFill>
                  <a:schemeClr val="bg1"/>
                </a:solidFill>
              </a:defRPr>
            </a:lvl2pPr>
            <a:lvl3pPr marL="0" algn="ctr">
              <a:buNone/>
              <a:defRPr sz="1600" b="1"/>
            </a:lvl3pPr>
            <a:lvl4pPr marL="0" algn="ctr">
              <a:buNone/>
              <a:defRPr sz="1600" b="1"/>
            </a:lvl4pPr>
            <a:lvl5pPr marL="0" algn="ctr">
              <a:buNone/>
              <a:defRPr sz="1600" b="1"/>
            </a:lvl5pPr>
          </a:lstStyle>
          <a:p>
            <a:pPr lvl="1"/>
            <a:r>
              <a:rPr lang="en-US" dirty="0"/>
              <a:t>Categoriz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B1C33E-CE88-B7EB-F37D-FDFC37E87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B9F17211-F61F-9B5F-C555-8C53CDF2D3E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33926D0-42C6-B9FE-790A-4FB9F3B8A5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1007175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s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6408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vert="horz" lIns="0" bIns="0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slide:</a:t>
            </a:r>
            <a:br>
              <a:rPr lang="en-US" dirty="0"/>
            </a:br>
            <a:r>
              <a:rPr lang="en-US" dirty="0"/>
              <a:t>Use a representative photo for the background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0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zation + deep dive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4330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B6A2BC62-EE2B-093C-9005-0521D19B9612}"/>
              </a:ext>
            </a:extLst>
          </p:cNvPr>
          <p:cNvSpPr/>
          <p:nvPr userDrawn="1"/>
        </p:nvSpPr>
        <p:spPr bwMode="gray">
          <a:xfrm>
            <a:off x="54864" y="552234"/>
            <a:ext cx="274320" cy="27432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13B7D00-51B3-15AC-93A3-D0ECB74B4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886200" cy="32004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marL="0" algn="ctr">
              <a:buNone/>
              <a:defRPr sz="1600" b="1"/>
            </a:lvl1pPr>
            <a:lvl2pPr marL="0" algn="ctr">
              <a:buNone/>
              <a:defRPr sz="1600" b="1">
                <a:solidFill>
                  <a:schemeClr val="bg1"/>
                </a:solidFill>
              </a:defRPr>
            </a:lvl2pPr>
            <a:lvl3pPr marL="0" algn="ctr">
              <a:buNone/>
              <a:defRPr sz="1600" b="1"/>
            </a:lvl3pPr>
            <a:lvl4pPr marL="0" algn="ctr">
              <a:buNone/>
              <a:defRPr sz="1600" b="1"/>
            </a:lvl4pPr>
            <a:lvl5pPr marL="0" algn="ctr">
              <a:buNone/>
              <a:defRPr sz="1600" b="1"/>
            </a:lvl5pPr>
          </a:lstStyle>
          <a:p>
            <a:pPr lvl="1"/>
            <a:r>
              <a:rPr lang="en-US" dirty="0"/>
              <a:t>Categorization + Deep Div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8633F30-8062-8C93-AF78-0F6592B36B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64" y="552234"/>
            <a:ext cx="274320" cy="274320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1200" b="1"/>
            </a:lvl2pPr>
            <a:lvl3pPr>
              <a:buNone/>
              <a:defRPr sz="1200" b="1"/>
            </a:lvl3pPr>
            <a:lvl4pPr>
              <a:buNone/>
              <a:defRPr sz="1200" b="1"/>
            </a:lvl4pPr>
            <a:lvl5pPr>
              <a:buNone/>
              <a:defRPr sz="1200" b="1"/>
            </a:lvl5pPr>
          </a:lstStyle>
          <a:p>
            <a:pPr lvl="0"/>
            <a:r>
              <a:rPr lang="en-US" dirty="0"/>
              <a:t>A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A5DA9AF-2E21-26EA-3767-A3E69A397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EFE85CD-E31A-5D43-0B84-9BE5C90FF1E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549400"/>
            <a:ext cx="11522075" cy="454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B6516F5-4F27-D74B-7043-01C691494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extLst>
      <p:ext uri="{BB962C8B-B14F-4D97-AF65-F5344CB8AC3E}">
        <p14:creationId xmlns:p14="http://schemas.microsoft.com/office/powerpoint/2010/main" val="674357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B67B3B-0E9A-5C17-0EEA-5D0883E7FB3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285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67B3B-0E9A-5C17-0EEA-5D0883E7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E98BC0-8AD9-CE70-E7E5-85E56971AB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B0FB424-AEAA-0694-F370-78FFA842F81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4964" y="1549400"/>
            <a:ext cx="8219692" cy="4546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Single talking point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8707BE8-B042-8868-9EE1-7EF563E1D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8219692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Slide title: key message in 1-2 lines</a:t>
            </a:r>
          </a:p>
        </p:txBody>
      </p:sp>
    </p:spTree>
    <p:extLst>
      <p:ext uri="{BB962C8B-B14F-4D97-AF65-F5344CB8AC3E}">
        <p14:creationId xmlns:p14="http://schemas.microsoft.com/office/powerpoint/2010/main" val="115062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3C4170-CB53-6C4B-961F-E3486FD4155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90332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3C4170-CB53-6C4B-961F-E3486FD4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CAC3596-1183-E1C5-279E-EF9E70AF08E9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682625" y="5278438"/>
            <a:ext cx="9421813" cy="1065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sz="4800"/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endi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459B82-446C-127A-714D-2EFB0B9A06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72" y="342685"/>
            <a:ext cx="2850036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36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KI Team Slide - Current Fell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185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1F8AE6-581A-30AA-AA06-08B8AED4B0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9184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13629702-4080-C823-995E-94BE1E14C3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9184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C9F17B6-05FB-252B-76B9-BECC4960DE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9184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F6829A-3EC4-7C5F-C708-B35AE8BA61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184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5C15EAF-8CDC-4BD1-E87B-372944089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50982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48C59F6-BB56-32BD-73C9-FC3B431672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5AC5E75-B51E-67FA-A7BD-C91C8AEBE9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6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7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DCC3303C-D010-D5E3-ABE5-C8752D95FE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982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827FC00-26DE-AE5B-3CD8-5052879326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50982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3EAAED9A-2960-962F-5668-41C3B4F6B3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0982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24B64638-7721-4951-FB7F-701E7B120C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8567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32E612F5-971B-1A26-6514-82480D9973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127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B9F1A9D9-3D2C-BED8-00AB-668724DAA8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8567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EAB22A-A509-F748-704D-B66D4BA1B8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43127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E4725DF5-F34E-BBF2-D98C-8A20EF294F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8567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3A7841B-F2C6-630C-8DA3-BACF3BE94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127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370BA6-E711-59AC-8C29-F68BC1C5A20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08567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304AF62E-5A7B-9AA0-EC7D-CFE5263161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43127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AE2D7-047A-C286-763B-337220080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509462"/>
            <a:ext cx="11522076" cy="758952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en-US" dirty="0"/>
              <a:t>CKI Team Slide – Current Fellow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D1ADA3E-18B2-8797-481C-C7E1B015EB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9184" y="1391428"/>
            <a:ext cx="5660136" cy="3408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Current Fellows</a:t>
            </a:r>
          </a:p>
        </p:txBody>
      </p:sp>
      <p:cxnSp>
        <p:nvCxnSpPr>
          <p:cNvPr id="3" name="btfpColumnHeaderBoxLine984923">
            <a:extLst>
              <a:ext uri="{FF2B5EF4-FFF2-40B4-BE49-F238E27FC236}">
                <a16:creationId xmlns:a16="http://schemas.microsoft.com/office/drawing/2014/main" id="{80D2438C-A653-3790-887F-A380597A30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1732046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4924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KI Team Slide - Alum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185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1F8AE6-581A-30AA-AA06-08B8AED4B0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9184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13629702-4080-C823-995E-94BE1E14C3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9184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C9F17B6-05FB-252B-76B9-BECC4960DE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9184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F6829A-3EC4-7C5F-C708-B35AE8BA61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184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5C15EAF-8CDC-4BD1-E87B-372944089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50982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48C59F6-BB56-32BD-73C9-FC3B431672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5AC5E75-B51E-67FA-A7BD-C91C8AEBE9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6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7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DCC3303C-D010-D5E3-ABE5-C8752D95FE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982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827FC00-26DE-AE5B-3CD8-5052879326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50982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3EAAED9A-2960-962F-5668-41C3B4F6B3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0982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24B64638-7721-4951-FB7F-701E7B120C2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8567" y="1914531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32E612F5-971B-1A26-6514-82480D9973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127" y="1914531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B9F1A9D9-3D2C-BED8-00AB-668724DAA8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8567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EAB22A-A509-F748-704D-B66D4BA1B8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43127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E4725DF5-F34E-BBF2-D98C-8A20EF294F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8567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3A7841B-F2C6-630C-8DA3-BACF3BE94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127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370BA6-E711-59AC-8C29-F68BC1C5A20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08567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304AF62E-5A7B-9AA0-EC7D-CFE5263161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43127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AE2D7-047A-C286-763B-337220080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509462"/>
            <a:ext cx="11522076" cy="758952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en-US" dirty="0"/>
              <a:t>CKI Team Slide – Alumni (Past Fellows)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D1ADA3E-18B2-8797-481C-C7E1B015EB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9184" y="1391428"/>
            <a:ext cx="5660136" cy="3408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Alumni</a:t>
            </a:r>
          </a:p>
        </p:txBody>
      </p:sp>
      <p:cxnSp>
        <p:nvCxnSpPr>
          <p:cNvPr id="3" name="btfpColumnHeaderBoxLine984923">
            <a:extLst>
              <a:ext uri="{FF2B5EF4-FFF2-40B4-BE49-F238E27FC236}">
                <a16:creationId xmlns:a16="http://schemas.microsoft.com/office/drawing/2014/main" id="{80D2438C-A653-3790-887F-A380597A30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1732046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9144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KI Team Slide - Staff, Faculty, Advi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185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BF6829A-3EC4-7C5F-C708-B35AE8BA61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9184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48C59F6-BB56-32BD-73C9-FC3B431672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5AC5E75-B51E-67FA-A7BD-C91C8AEBE9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6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7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3EAAED9A-2960-962F-5668-41C3B4F6B3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0982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B9F1A9D9-3D2C-BED8-00AB-668724DAA8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8532" y="3045360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EAB22A-A509-F748-704D-B66D4BA1B8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43127" y="3045360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E4725DF5-F34E-BBF2-D98C-8A20EF294F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8532" y="4176189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63A7841B-F2C6-630C-8DA3-BACF3BE94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127" y="4176189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370BA6-E711-59AC-8C29-F68BC1C5A20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08532" y="5307018"/>
            <a:ext cx="914400" cy="914400"/>
          </a:xfrm>
          <a:prstGeom prst="ellipse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304AF62E-5A7B-9AA0-EC7D-CFE5263161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43127" y="5307018"/>
            <a:ext cx="3886200" cy="914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spcBef>
                <a:spcPts val="0"/>
              </a:spcBef>
              <a:buNone/>
              <a:defRPr sz="1200" b="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 b="0" dirty="0"/>
              <a:t>Insert </a:t>
            </a:r>
            <a:r>
              <a:rPr lang="en-US" b="1" dirty="0"/>
              <a:t>name</a:t>
            </a:r>
            <a:r>
              <a:rPr lang="en-US" b="0" dirty="0"/>
              <a:t> (bold text), </a:t>
            </a:r>
            <a:r>
              <a:rPr lang="en-US" dirty="0"/>
              <a:t>CKI position (Team Lead or Fellow), email addr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AE2D7-047A-C286-763B-337220080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509462"/>
            <a:ext cx="11522076" cy="758952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en-US" dirty="0"/>
              <a:t>CKI Team Staff, Faculty, and Advisors</a:t>
            </a:r>
          </a:p>
        </p:txBody>
      </p:sp>
      <p:cxnSp>
        <p:nvCxnSpPr>
          <p:cNvPr id="3" name="btfpColumnHeaderBoxLine984923">
            <a:extLst>
              <a:ext uri="{FF2B5EF4-FFF2-40B4-BE49-F238E27FC236}">
                <a16:creationId xmlns:a16="http://schemas.microsoft.com/office/drawing/2014/main" id="{80D2438C-A653-3790-887F-A380597A30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1732046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tfpColumnHeaderBoxLine984923">
            <a:extLst>
              <a:ext uri="{FF2B5EF4-FFF2-40B4-BE49-F238E27FC236}">
                <a16:creationId xmlns:a16="http://schemas.microsoft.com/office/drawing/2014/main" id="{C714D6AB-730F-2DF2-786C-43BBB98D867F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6202680" y="1731778"/>
            <a:ext cx="5660136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>
            <a:extLst>
              <a:ext uri="{FF2B5EF4-FFF2-40B4-BE49-F238E27FC236}">
                <a16:creationId xmlns:a16="http://schemas.microsoft.com/office/drawing/2014/main" id="{A51E28CC-9957-0EC1-2A1E-F5100D6F27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05"/>
          <a:stretch/>
        </p:blipFill>
        <p:spPr bwMode="auto">
          <a:xfrm>
            <a:off x="329184" y="1914531"/>
            <a:ext cx="915279" cy="914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031E0AC8-304A-84AD-F22A-A01DEF9F1BD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08567" y="1914531"/>
            <a:ext cx="914365" cy="9144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Pia Morrow">
            <a:extLst>
              <a:ext uri="{FF2B5EF4-FFF2-40B4-BE49-F238E27FC236}">
                <a16:creationId xmlns:a16="http://schemas.microsoft.com/office/drawing/2014/main" id="{4BD3FE46-4B85-FD40-B480-3474A5A6BD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84" y="4176189"/>
            <a:ext cx="914400" cy="914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Profile photo of Ariela Farchi Behar">
            <a:extLst>
              <a:ext uri="{FF2B5EF4-FFF2-40B4-BE49-F238E27FC236}">
                <a16:creationId xmlns:a16="http://schemas.microsoft.com/office/drawing/2014/main" id="{646A9B96-6A20-B2A3-2932-22C3FCE5FB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84" y="3045360"/>
            <a:ext cx="914400" cy="914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1B273A4-5A9D-7C6E-B017-05CB3DE98CE8}"/>
              </a:ext>
            </a:extLst>
          </p:cNvPr>
          <p:cNvSpPr txBox="1"/>
          <p:nvPr userDrawn="1"/>
        </p:nvSpPr>
        <p:spPr bwMode="gray">
          <a:xfrm>
            <a:off x="1550982" y="1914531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Isabel Hoyos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enior 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2"/>
              </a:rPr>
              <a:t>ih2428@columbia.edu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17C8EA1-C3B7-C509-984F-3A573B86C699}"/>
              </a:ext>
            </a:extLst>
          </p:cNvPr>
          <p:cNvSpPr txBox="1"/>
          <p:nvPr userDrawn="1"/>
        </p:nvSpPr>
        <p:spPr bwMode="gray">
          <a:xfrm>
            <a:off x="1550982" y="3045360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Ariela Farchi Behar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3"/>
              </a:rPr>
              <a:t>af3487@columbia.edu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DFC434-AB36-0D48-514A-8AE948DE3135}"/>
              </a:ext>
            </a:extLst>
          </p:cNvPr>
          <p:cNvSpPr txBox="1"/>
          <p:nvPr userDrawn="1"/>
        </p:nvSpPr>
        <p:spPr bwMode="gray">
          <a:xfrm>
            <a:off x="1550982" y="4176189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Pia Doris Morrow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M.S. in Sustainability Management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taff Associat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4"/>
              </a:rPr>
              <a:t>pm3346@columbia.edu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F1CB1F0-0A9D-D8FB-46BB-159BFB41E1F8}"/>
              </a:ext>
            </a:extLst>
          </p:cNvPr>
          <p:cNvSpPr txBox="1"/>
          <p:nvPr userDrawn="1"/>
        </p:nvSpPr>
        <p:spPr bwMode="gray">
          <a:xfrm>
            <a:off x="7443127" y="1914531"/>
            <a:ext cx="3886200" cy="914400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Gernot Wagner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Senior Lecturer, Columbia Business School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</a:rPr>
              <a:t>Faculty Director, Climate Knowledge Initiative</a:t>
            </a:r>
          </a:p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dirty="0">
                <a:solidFill>
                  <a:schemeClr val="tx1"/>
                </a:solidFill>
                <a:hlinkClick r:id="rId15"/>
              </a:rPr>
              <a:t>gwagner@columbia.edu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19F614-7E26-71B1-D83F-03AE007BA1EB}"/>
              </a:ext>
            </a:extLst>
          </p:cNvPr>
          <p:cNvSpPr txBox="1"/>
          <p:nvPr userDrawn="1"/>
        </p:nvSpPr>
        <p:spPr bwMode="gray">
          <a:xfrm>
            <a:off x="329184" y="1391428"/>
            <a:ext cx="5660136" cy="338328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</a:rPr>
              <a:t>Staff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11D1C8-DA89-34DF-F0CD-0C465B26CAD5}"/>
              </a:ext>
            </a:extLst>
          </p:cNvPr>
          <p:cNvSpPr txBox="1"/>
          <p:nvPr userDrawn="1"/>
        </p:nvSpPr>
        <p:spPr bwMode="gray">
          <a:xfrm>
            <a:off x="6208532" y="1391160"/>
            <a:ext cx="5660136" cy="338328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noAutofit/>
          </a:bodyPr>
          <a:lstStyle/>
          <a:p>
            <a:pPr marL="0" indent="-18288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</a:rPr>
              <a:t>Faculty and Advisors</a:t>
            </a:r>
          </a:p>
        </p:txBody>
      </p:sp>
    </p:spTree>
    <p:extLst>
      <p:ext uri="{BB962C8B-B14F-4D97-AF65-F5344CB8AC3E}">
        <p14:creationId xmlns:p14="http://schemas.microsoft.com/office/powerpoint/2010/main" val="1358595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5B8BD8-E431-D455-1ED2-406291B065B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5134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5B8BD8-E431-D455-1ED2-406291B06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8">
            <a:extLst>
              <a:ext uri="{FF2B5EF4-FFF2-40B4-BE49-F238E27FC236}">
                <a16:creationId xmlns:a16="http://schemas.microsoft.com/office/drawing/2014/main" id="{8D15BC06-EE81-73BA-5732-C5A6FE9E49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0200" y="768350"/>
            <a:ext cx="3510784" cy="4981062"/>
          </a:xfrm>
          <a:prstGeom prst="rect">
            <a:avLst/>
          </a:prstGeom>
        </p:spPr>
        <p:txBody>
          <a:bodyPr/>
          <a:lstStyle>
            <a:lvl1pPr mar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B0C580-AC9F-ECD5-99CE-AEC9A3683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267" y="768350"/>
            <a:ext cx="7502525" cy="49810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8E3FE2A-C8FA-E15E-73E2-8DCE607136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74C9EC-1A5B-0243-D83E-2EB31828746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445" y="4305300"/>
            <a:ext cx="3165987" cy="1295400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buNone/>
              <a:defRPr sz="2800" b="1"/>
            </a:lvl1pPr>
          </a:lstStyle>
          <a:p>
            <a:pPr lvl="0"/>
            <a:r>
              <a:rPr lang="en-US" dirty="0"/>
              <a:t>Key message title</a:t>
            </a:r>
          </a:p>
        </p:txBody>
      </p:sp>
    </p:spTree>
    <p:extLst>
      <p:ext uri="{BB962C8B-B14F-4D97-AF65-F5344CB8AC3E}">
        <p14:creationId xmlns:p14="http://schemas.microsoft.com/office/powerpoint/2010/main" val="25725816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s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B131C-746B-39C7-7312-75C7B13BBCE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0440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B131C-746B-39C7-7312-75C7B13BB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12BC789-652B-24D3-1691-9FE570C848A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4963" y="2195551"/>
            <a:ext cx="11521440" cy="390448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24D32E-A984-55C4-82E1-CC1C751DA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513568"/>
            <a:ext cx="11522076" cy="754846"/>
          </a:xfrm>
          <a:prstGeom prst="rect">
            <a:avLst/>
          </a:prstGeom>
        </p:spPr>
        <p:txBody>
          <a:bodyPr vert="horz" wrap="square" tIns="0" rIns="91440" bIns="0" anchor="t">
            <a:noAutofit/>
          </a:bodyPr>
          <a:lstStyle>
            <a:lvl1pPr>
              <a:spcBef>
                <a:spcPts val="0"/>
              </a:spcBef>
              <a:defRPr sz="2800" baseline="0"/>
            </a:lvl1pPr>
          </a:lstStyle>
          <a:p>
            <a:r>
              <a:rPr lang="en-US" dirty="0"/>
              <a:t>Action Items List – Team [insert topic]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0FCD16-E095-44F9-ED74-4697D5240F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5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6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B0532E4-3B5D-F9C8-81C4-3E089BD7E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498005"/>
            <a:ext cx="8705088" cy="54864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600" b="1"/>
            </a:lvl1pPr>
            <a:lvl2pPr>
              <a:buNone/>
              <a:defRPr sz="1600" b="1"/>
            </a:lvl2pPr>
            <a:lvl3pPr>
              <a:buNone/>
              <a:defRPr sz="16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/>
              <a:t>Week of [insert date]</a:t>
            </a:r>
          </a:p>
        </p:txBody>
      </p:sp>
      <p:cxnSp>
        <p:nvCxnSpPr>
          <p:cNvPr id="9" name="btfpColumnHeaderBoxLine984923">
            <a:extLst>
              <a:ext uri="{FF2B5EF4-FFF2-40B4-BE49-F238E27FC236}">
                <a16:creationId xmlns:a16="http://schemas.microsoft.com/office/drawing/2014/main" id="{C98100D3-07F0-A4A3-F359-C34DFF8A2942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3332" y="2046377"/>
            <a:ext cx="8705088" cy="268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764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21" Type="http://schemas.openxmlformats.org/officeDocument/2006/relationships/hyperlink" Target="https://business.columbia.edu/insights/climate/cki" TargetMode="Externa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12.xml"/><Relationship Id="rId20" Type="http://schemas.openxmlformats.org/officeDocument/2006/relationships/hyperlink" Target="https://business.columbia.edu/faculty/people/gernot-wagner" TargetMode="Externa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46353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03" imgH="503" progId="TCLayout.ActiveDocument.1">
                  <p:embed/>
                </p:oleObj>
              </mc:Choice>
              <mc:Fallback>
                <p:oleObj name="think-cell Slide" r:id="rId11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CKI Steel Background v231101-GF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6F76E689-2599-906D-6418-FF0DB8B678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1780261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3322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03" imgH="503" progId="TCLayout.ActiveDocument.1">
                  <p:embed/>
                </p:oleObj>
              </mc:Choice>
              <mc:Fallback>
                <p:oleObj name="think-cell Slide" r:id="rId17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95F338-471E-FA38-41D0-3375145984B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81021E2-9353-F5D6-4831-71C13B1AC983}"/>
              </a:ext>
            </a:extLst>
          </p:cNvPr>
          <p:cNvSpPr txBox="1"/>
          <p:nvPr userDrawn="1"/>
        </p:nvSpPr>
        <p:spPr bwMode="gray">
          <a:xfrm>
            <a:off x="10777929" y="272597"/>
            <a:ext cx="1079110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indent="0" algn="r">
              <a:spcBef>
                <a:spcPts val="600"/>
              </a:spcBef>
              <a:spcAft>
                <a:spcPts val="600"/>
              </a:spcAft>
              <a:buNone/>
            </a:pPr>
            <a:fld id="{DBBFD4BF-CE92-6F42-B836-6FA9C3EC13F8}" type="slidenum">
              <a:rPr lang="en-US" sz="800" b="0" smtClean="0">
                <a:latin typeface="+mn-lt"/>
              </a:rPr>
              <a:pPr marL="0" indent="0" algn="r">
                <a:spcBef>
                  <a:spcPts val="600"/>
                </a:spcBef>
                <a:spcAft>
                  <a:spcPts val="600"/>
                </a:spcAft>
                <a:buNone/>
              </a:pPr>
              <a:t>‹#›</a:t>
            </a:fld>
            <a:r>
              <a:rPr lang="en-US" sz="800" b="0" dirty="0">
                <a:latin typeface="+mn-lt"/>
              </a:rPr>
              <a:t> of 4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73" y="6392206"/>
            <a:ext cx="2302327" cy="385640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1ECB5BF-3801-F73D-99D7-E439D56BCD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344432"/>
            <a:ext cx="9147241" cy="2167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s: Source title [with link] (Source name, year); Source title [with link] (Source name, year).</a:t>
            </a:r>
          </a:p>
          <a:p>
            <a:r>
              <a:rPr lang="en-US" dirty="0">
                <a:solidFill>
                  <a:srgbClr val="000000"/>
                </a:solidFill>
              </a:rPr>
              <a:t>Credit: Names, and </a:t>
            </a:r>
            <a:r>
              <a:rPr lang="en-US" u="sng" dirty="0">
                <a:hlinkClick r:id="rId20"/>
              </a:rPr>
              <a:t>Gernot Wagner</a:t>
            </a:r>
            <a:r>
              <a:rPr lang="en-US" dirty="0"/>
              <a:t>. </a:t>
            </a:r>
            <a:r>
              <a:rPr lang="en-US" dirty="0">
                <a:solidFill>
                  <a:schemeClr val="tx1"/>
                </a:solidFill>
              </a:rPr>
              <a:t>Share with </a:t>
            </a:r>
            <a:r>
              <a:rPr lang="en-US" u="sng" dirty="0">
                <a:solidFill>
                  <a:schemeClr val="tx1"/>
                </a:solidFill>
                <a:hlinkClick r:id="rId21"/>
              </a:rPr>
              <a:t>attribution</a:t>
            </a:r>
            <a:r>
              <a:rPr lang="en-US" dirty="0">
                <a:solidFill>
                  <a:schemeClr val="tx1"/>
                </a:solidFill>
              </a:rPr>
              <a:t>: Name of lead author </a:t>
            </a:r>
            <a:r>
              <a:rPr lang="en-US" i="1" dirty="0">
                <a:solidFill>
                  <a:schemeClr val="tx1"/>
                </a:solidFill>
              </a:rPr>
              <a:t>et al.</a:t>
            </a:r>
            <a:r>
              <a:rPr lang="en-US" dirty="0">
                <a:solidFill>
                  <a:schemeClr val="tx1"/>
                </a:solidFill>
              </a:rPr>
              <a:t>, “</a:t>
            </a:r>
            <a:r>
              <a:rPr lang="en-US" u="sng" dirty="0">
                <a:solidFill>
                  <a:schemeClr val="tx1"/>
                </a:solidFill>
              </a:rPr>
              <a:t>Title of the deck [linked to website]</a:t>
            </a:r>
            <a:r>
              <a:rPr lang="en-US" dirty="0">
                <a:solidFill>
                  <a:schemeClr val="tx1"/>
                </a:solidFill>
              </a:rPr>
              <a:t>” (Day Month [spelled out] Year).​</a:t>
            </a:r>
          </a:p>
        </p:txBody>
      </p:sp>
    </p:spTree>
    <p:custDataLst>
      <p:tags r:id="rId15"/>
    </p:custDataLst>
    <p:extLst>
      <p:ext uri="{BB962C8B-B14F-4D97-AF65-F5344CB8AC3E}">
        <p14:creationId xmlns:p14="http://schemas.microsoft.com/office/powerpoint/2010/main" val="1080672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</p:sldLayoutIdLst>
  <p:hf hdr="0" dt="0"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192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52.xml"/><Relationship Id="rId21" Type="http://schemas.openxmlformats.org/officeDocument/2006/relationships/tags" Target="../tags/tag47.xml"/><Relationship Id="rId42" Type="http://schemas.openxmlformats.org/officeDocument/2006/relationships/tags" Target="../tags/tag68.xml"/><Relationship Id="rId47" Type="http://schemas.openxmlformats.org/officeDocument/2006/relationships/tags" Target="../tags/tag73.xml"/><Relationship Id="rId63" Type="http://schemas.openxmlformats.org/officeDocument/2006/relationships/tags" Target="../tags/tag89.xml"/><Relationship Id="rId68" Type="http://schemas.openxmlformats.org/officeDocument/2006/relationships/tags" Target="../tags/tag94.xml"/><Relationship Id="rId84" Type="http://schemas.openxmlformats.org/officeDocument/2006/relationships/tags" Target="../tags/tag110.xml"/><Relationship Id="rId89" Type="http://schemas.openxmlformats.org/officeDocument/2006/relationships/tags" Target="../tags/tag115.xml"/><Relationship Id="rId112" Type="http://schemas.openxmlformats.org/officeDocument/2006/relationships/hyperlink" Target="https://business.columbia.edu/insights/climate/cki" TargetMode="External"/><Relationship Id="rId16" Type="http://schemas.openxmlformats.org/officeDocument/2006/relationships/tags" Target="../tags/tag42.xml"/><Relationship Id="rId107" Type="http://schemas.openxmlformats.org/officeDocument/2006/relationships/hyperlink" Target="https://www.shell.com/news-and-insights/scenarios/the-2025-energy-security-scenarios.html" TargetMode="External"/><Relationship Id="rId11" Type="http://schemas.openxmlformats.org/officeDocument/2006/relationships/tags" Target="../tags/tag37.xml"/><Relationship Id="rId32" Type="http://schemas.openxmlformats.org/officeDocument/2006/relationships/tags" Target="../tags/tag58.xml"/><Relationship Id="rId37" Type="http://schemas.openxmlformats.org/officeDocument/2006/relationships/tags" Target="../tags/tag63.xml"/><Relationship Id="rId53" Type="http://schemas.openxmlformats.org/officeDocument/2006/relationships/tags" Target="../tags/tag79.xml"/><Relationship Id="rId58" Type="http://schemas.openxmlformats.org/officeDocument/2006/relationships/tags" Target="../tags/tag84.xml"/><Relationship Id="rId74" Type="http://schemas.openxmlformats.org/officeDocument/2006/relationships/tags" Target="../tags/tag100.xml"/><Relationship Id="rId79" Type="http://schemas.openxmlformats.org/officeDocument/2006/relationships/tags" Target="../tags/tag105.xml"/><Relationship Id="rId102" Type="http://schemas.openxmlformats.org/officeDocument/2006/relationships/chart" Target="../charts/chart1.xml"/><Relationship Id="rId5" Type="http://schemas.openxmlformats.org/officeDocument/2006/relationships/tags" Target="../tags/tag31.xml"/><Relationship Id="rId90" Type="http://schemas.openxmlformats.org/officeDocument/2006/relationships/tags" Target="../tags/tag116.xml"/><Relationship Id="rId95" Type="http://schemas.openxmlformats.org/officeDocument/2006/relationships/tags" Target="../tags/tag121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43" Type="http://schemas.openxmlformats.org/officeDocument/2006/relationships/tags" Target="../tags/tag69.xml"/><Relationship Id="rId48" Type="http://schemas.openxmlformats.org/officeDocument/2006/relationships/tags" Target="../tags/tag74.xml"/><Relationship Id="rId64" Type="http://schemas.openxmlformats.org/officeDocument/2006/relationships/tags" Target="../tags/tag90.xml"/><Relationship Id="rId69" Type="http://schemas.openxmlformats.org/officeDocument/2006/relationships/tags" Target="../tags/tag95.xml"/><Relationship Id="rId113" Type="http://schemas.openxmlformats.org/officeDocument/2006/relationships/chart" Target="../charts/chart3.xml"/><Relationship Id="rId80" Type="http://schemas.openxmlformats.org/officeDocument/2006/relationships/tags" Target="../tags/tag106.xml"/><Relationship Id="rId85" Type="http://schemas.openxmlformats.org/officeDocument/2006/relationships/tags" Target="../tags/tag111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33" Type="http://schemas.openxmlformats.org/officeDocument/2006/relationships/tags" Target="../tags/tag59.xml"/><Relationship Id="rId38" Type="http://schemas.openxmlformats.org/officeDocument/2006/relationships/tags" Target="../tags/tag64.xml"/><Relationship Id="rId59" Type="http://schemas.openxmlformats.org/officeDocument/2006/relationships/tags" Target="../tags/tag85.xml"/><Relationship Id="rId103" Type="http://schemas.openxmlformats.org/officeDocument/2006/relationships/chart" Target="../charts/chart2.xml"/><Relationship Id="rId108" Type="http://schemas.openxmlformats.org/officeDocument/2006/relationships/hyperlink" Target="https://www.iea.org/reports/world-energy-outlook-2024" TargetMode="External"/><Relationship Id="rId54" Type="http://schemas.openxmlformats.org/officeDocument/2006/relationships/tags" Target="../tags/tag80.xml"/><Relationship Id="rId70" Type="http://schemas.openxmlformats.org/officeDocument/2006/relationships/tags" Target="../tags/tag96.xml"/><Relationship Id="rId75" Type="http://schemas.openxmlformats.org/officeDocument/2006/relationships/tags" Target="../tags/tag101.xml"/><Relationship Id="rId91" Type="http://schemas.openxmlformats.org/officeDocument/2006/relationships/tags" Target="../tags/tag117.xml"/><Relationship Id="rId96" Type="http://schemas.openxmlformats.org/officeDocument/2006/relationships/tags" Target="../tags/tag122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49" Type="http://schemas.openxmlformats.org/officeDocument/2006/relationships/tags" Target="../tags/tag75.xml"/><Relationship Id="rId57" Type="http://schemas.openxmlformats.org/officeDocument/2006/relationships/tags" Target="../tags/tag83.xml"/><Relationship Id="rId106" Type="http://schemas.openxmlformats.org/officeDocument/2006/relationships/hyperlink" Target="https://www.ipcc.ch/report/ar6/syr/downloads/report/IPCC_AR6_SYR_FullVolume.pdf" TargetMode="External"/><Relationship Id="rId114" Type="http://schemas.openxmlformats.org/officeDocument/2006/relationships/image" Target="../media/image16.png"/><Relationship Id="rId10" Type="http://schemas.openxmlformats.org/officeDocument/2006/relationships/tags" Target="../tags/tag36.xml"/><Relationship Id="rId31" Type="http://schemas.openxmlformats.org/officeDocument/2006/relationships/tags" Target="../tags/tag57.xml"/><Relationship Id="rId44" Type="http://schemas.openxmlformats.org/officeDocument/2006/relationships/tags" Target="../tags/tag70.xml"/><Relationship Id="rId52" Type="http://schemas.openxmlformats.org/officeDocument/2006/relationships/tags" Target="../tags/tag78.xml"/><Relationship Id="rId60" Type="http://schemas.openxmlformats.org/officeDocument/2006/relationships/tags" Target="../tags/tag86.xml"/><Relationship Id="rId65" Type="http://schemas.openxmlformats.org/officeDocument/2006/relationships/tags" Target="../tags/tag91.xml"/><Relationship Id="rId73" Type="http://schemas.openxmlformats.org/officeDocument/2006/relationships/tags" Target="../tags/tag99.xml"/><Relationship Id="rId78" Type="http://schemas.openxmlformats.org/officeDocument/2006/relationships/tags" Target="../tags/tag104.xml"/><Relationship Id="rId81" Type="http://schemas.openxmlformats.org/officeDocument/2006/relationships/tags" Target="../tags/tag107.xml"/><Relationship Id="rId86" Type="http://schemas.openxmlformats.org/officeDocument/2006/relationships/tags" Target="../tags/tag112.xml"/><Relationship Id="rId94" Type="http://schemas.openxmlformats.org/officeDocument/2006/relationships/tags" Target="../tags/tag120.xml"/><Relationship Id="rId99" Type="http://schemas.openxmlformats.org/officeDocument/2006/relationships/notesSlide" Target="../notesSlides/notesSlide1.xml"/><Relationship Id="rId101" Type="http://schemas.openxmlformats.org/officeDocument/2006/relationships/image" Target="../media/image15.emf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39" Type="http://schemas.openxmlformats.org/officeDocument/2006/relationships/tags" Target="../tags/tag65.xml"/><Relationship Id="rId109" Type="http://schemas.openxmlformats.org/officeDocument/2006/relationships/hyperlink" Target="https://www.nature.com/articles/d41586-020-00177-3" TargetMode="External"/><Relationship Id="rId34" Type="http://schemas.openxmlformats.org/officeDocument/2006/relationships/tags" Target="../tags/tag60.xml"/><Relationship Id="rId50" Type="http://schemas.openxmlformats.org/officeDocument/2006/relationships/tags" Target="../tags/tag76.xml"/><Relationship Id="rId55" Type="http://schemas.openxmlformats.org/officeDocument/2006/relationships/tags" Target="../tags/tag81.xml"/><Relationship Id="rId76" Type="http://schemas.openxmlformats.org/officeDocument/2006/relationships/tags" Target="../tags/tag102.xml"/><Relationship Id="rId97" Type="http://schemas.openxmlformats.org/officeDocument/2006/relationships/tags" Target="../tags/tag123.xml"/><Relationship Id="rId104" Type="http://schemas.openxmlformats.org/officeDocument/2006/relationships/hyperlink" Target="https://www.pnas.org/doi/10.1073/pnas.2410733121" TargetMode="External"/><Relationship Id="rId7" Type="http://schemas.openxmlformats.org/officeDocument/2006/relationships/tags" Target="../tags/tag33.xml"/><Relationship Id="rId71" Type="http://schemas.openxmlformats.org/officeDocument/2006/relationships/tags" Target="../tags/tag97.xml"/><Relationship Id="rId92" Type="http://schemas.openxmlformats.org/officeDocument/2006/relationships/tags" Target="../tags/tag118.xml"/><Relationship Id="rId2" Type="http://schemas.openxmlformats.org/officeDocument/2006/relationships/tags" Target="../tags/tag28.xml"/><Relationship Id="rId29" Type="http://schemas.openxmlformats.org/officeDocument/2006/relationships/tags" Target="../tags/tag55.xml"/><Relationship Id="rId24" Type="http://schemas.openxmlformats.org/officeDocument/2006/relationships/tags" Target="../tags/tag50.xml"/><Relationship Id="rId40" Type="http://schemas.openxmlformats.org/officeDocument/2006/relationships/tags" Target="../tags/tag66.xml"/><Relationship Id="rId45" Type="http://schemas.openxmlformats.org/officeDocument/2006/relationships/tags" Target="../tags/tag71.xml"/><Relationship Id="rId66" Type="http://schemas.openxmlformats.org/officeDocument/2006/relationships/tags" Target="../tags/tag92.xml"/><Relationship Id="rId87" Type="http://schemas.openxmlformats.org/officeDocument/2006/relationships/tags" Target="../tags/tag113.xml"/><Relationship Id="rId110" Type="http://schemas.openxmlformats.org/officeDocument/2006/relationships/hyperlink" Target="https://about.bnef.com/insights/finance/energy-transition-investment-trends/#download-report-summary" TargetMode="External"/><Relationship Id="rId61" Type="http://schemas.openxmlformats.org/officeDocument/2006/relationships/tags" Target="../tags/tag87.xml"/><Relationship Id="rId82" Type="http://schemas.openxmlformats.org/officeDocument/2006/relationships/tags" Target="../tags/tag108.xml"/><Relationship Id="rId19" Type="http://schemas.openxmlformats.org/officeDocument/2006/relationships/tags" Target="../tags/tag45.xml"/><Relationship Id="rId14" Type="http://schemas.openxmlformats.org/officeDocument/2006/relationships/tags" Target="../tags/tag40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56" Type="http://schemas.openxmlformats.org/officeDocument/2006/relationships/tags" Target="../tags/tag82.xml"/><Relationship Id="rId77" Type="http://schemas.openxmlformats.org/officeDocument/2006/relationships/tags" Target="../tags/tag103.xml"/><Relationship Id="rId100" Type="http://schemas.openxmlformats.org/officeDocument/2006/relationships/oleObject" Target="../embeddings/oleObject24.bin"/><Relationship Id="rId105" Type="http://schemas.openxmlformats.org/officeDocument/2006/relationships/hyperlink" Target="https://www.pnas.org/doi/10.1073/pnas.2103081118" TargetMode="External"/><Relationship Id="rId8" Type="http://schemas.openxmlformats.org/officeDocument/2006/relationships/tags" Target="../tags/tag34.xml"/><Relationship Id="rId51" Type="http://schemas.openxmlformats.org/officeDocument/2006/relationships/tags" Target="../tags/tag77.xml"/><Relationship Id="rId72" Type="http://schemas.openxmlformats.org/officeDocument/2006/relationships/tags" Target="../tags/tag98.xml"/><Relationship Id="rId93" Type="http://schemas.openxmlformats.org/officeDocument/2006/relationships/tags" Target="../tags/tag119.xml"/><Relationship Id="rId98" Type="http://schemas.openxmlformats.org/officeDocument/2006/relationships/slideLayout" Target="../slideLayouts/slideLayout10.xml"/><Relationship Id="rId3" Type="http://schemas.openxmlformats.org/officeDocument/2006/relationships/tags" Target="../tags/tag29.xml"/><Relationship Id="rId25" Type="http://schemas.openxmlformats.org/officeDocument/2006/relationships/tags" Target="../tags/tag51.xml"/><Relationship Id="rId46" Type="http://schemas.openxmlformats.org/officeDocument/2006/relationships/tags" Target="../tags/tag72.xml"/><Relationship Id="rId67" Type="http://schemas.openxmlformats.org/officeDocument/2006/relationships/tags" Target="../tags/tag93.xml"/><Relationship Id="rId20" Type="http://schemas.openxmlformats.org/officeDocument/2006/relationships/tags" Target="../tags/tag46.xml"/><Relationship Id="rId41" Type="http://schemas.openxmlformats.org/officeDocument/2006/relationships/tags" Target="../tags/tag67.xml"/><Relationship Id="rId62" Type="http://schemas.openxmlformats.org/officeDocument/2006/relationships/tags" Target="../tags/tag88.xml"/><Relationship Id="rId83" Type="http://schemas.openxmlformats.org/officeDocument/2006/relationships/tags" Target="../tags/tag109.xml"/><Relationship Id="rId88" Type="http://schemas.openxmlformats.org/officeDocument/2006/relationships/tags" Target="../tags/tag114.xml"/><Relationship Id="rId111" Type="http://schemas.openxmlformats.org/officeDocument/2006/relationships/hyperlink" Target="https://business.columbia.edu/faculty/people/gernot-wagner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ea.org/reports/world-energy-outlook-2024" TargetMode="External"/><Relationship Id="rId13" Type="http://schemas.openxmlformats.org/officeDocument/2006/relationships/hyperlink" Target="http://IPCC_AR6_WGII_FullReport.pdf" TargetMode="External"/><Relationship Id="rId3" Type="http://schemas.openxmlformats.org/officeDocument/2006/relationships/tags" Target="../tags/tag126.xml"/><Relationship Id="rId7" Type="http://schemas.openxmlformats.org/officeDocument/2006/relationships/image" Target="../media/image17.emf"/><Relationship Id="rId12" Type="http://schemas.openxmlformats.org/officeDocument/2006/relationships/hyperlink" Target="https://www.ipcc.ch/sr15/chapter/spm/?utm_source=chatgpt.com" TargetMode="External"/><Relationship Id="rId2" Type="http://schemas.openxmlformats.org/officeDocument/2006/relationships/tags" Target="../tags/tag125.xml"/><Relationship Id="rId16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124.xml"/><Relationship Id="rId6" Type="http://schemas.openxmlformats.org/officeDocument/2006/relationships/oleObject" Target="../embeddings/oleObject25.bin"/><Relationship Id="rId11" Type="http://schemas.openxmlformats.org/officeDocument/2006/relationships/hyperlink" Target="https://www.ipcc.ch/report/ar6/wg2/" TargetMode="External"/><Relationship Id="rId5" Type="http://schemas.openxmlformats.org/officeDocument/2006/relationships/notesSlide" Target="../notesSlides/notesSlide2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www.ngfs.net/system/files/2025-01/20241108_ngfs_scenarios_phasev_outreach_public_v2.pdf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www.ipcc.ch/report/ar6/wg1/chapter/chapter-9/" TargetMode="External"/><Relationship Id="rId14" Type="http://schemas.openxmlformats.org/officeDocument/2006/relationships/hyperlink" Target="https://www.ipcc.ch/srccl/chapter/chapter-5/?utm_source=chatgpt.com" TargetMode="Externa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52.xml"/><Relationship Id="rId21" Type="http://schemas.openxmlformats.org/officeDocument/2006/relationships/tags" Target="../tags/tag147.xml"/><Relationship Id="rId42" Type="http://schemas.openxmlformats.org/officeDocument/2006/relationships/tags" Target="../tags/tag168.xml"/><Relationship Id="rId47" Type="http://schemas.openxmlformats.org/officeDocument/2006/relationships/tags" Target="../tags/tag173.xml"/><Relationship Id="rId63" Type="http://schemas.openxmlformats.org/officeDocument/2006/relationships/tags" Target="../tags/tag189.xml"/><Relationship Id="rId68" Type="http://schemas.openxmlformats.org/officeDocument/2006/relationships/tags" Target="../tags/tag194.xml"/><Relationship Id="rId84" Type="http://schemas.openxmlformats.org/officeDocument/2006/relationships/image" Target="../media/image18.emf"/><Relationship Id="rId89" Type="http://schemas.openxmlformats.org/officeDocument/2006/relationships/hyperlink" Target="https://about.bnef.com/insights/finance/energy-transition-investment-trends/#download-report-summary" TargetMode="External"/><Relationship Id="rId16" Type="http://schemas.openxmlformats.org/officeDocument/2006/relationships/tags" Target="../tags/tag142.xml"/><Relationship Id="rId11" Type="http://schemas.openxmlformats.org/officeDocument/2006/relationships/tags" Target="../tags/tag137.xml"/><Relationship Id="rId32" Type="http://schemas.openxmlformats.org/officeDocument/2006/relationships/tags" Target="../tags/tag158.xml"/><Relationship Id="rId37" Type="http://schemas.openxmlformats.org/officeDocument/2006/relationships/tags" Target="../tags/tag163.xml"/><Relationship Id="rId53" Type="http://schemas.openxmlformats.org/officeDocument/2006/relationships/tags" Target="../tags/tag179.xml"/><Relationship Id="rId58" Type="http://schemas.openxmlformats.org/officeDocument/2006/relationships/tags" Target="../tags/tag184.xml"/><Relationship Id="rId74" Type="http://schemas.openxmlformats.org/officeDocument/2006/relationships/tags" Target="../tags/tag200.xml"/><Relationship Id="rId79" Type="http://schemas.openxmlformats.org/officeDocument/2006/relationships/tags" Target="../tags/tag205.xml"/><Relationship Id="rId5" Type="http://schemas.openxmlformats.org/officeDocument/2006/relationships/tags" Target="../tags/tag131.xml"/><Relationship Id="rId90" Type="http://schemas.openxmlformats.org/officeDocument/2006/relationships/hyperlink" Target="https://business.columbia.edu/faculty/people/gernot-wagner" TargetMode="Externa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tags" Target="../tags/tag156.xml"/><Relationship Id="rId35" Type="http://schemas.openxmlformats.org/officeDocument/2006/relationships/tags" Target="../tags/tag161.xml"/><Relationship Id="rId43" Type="http://schemas.openxmlformats.org/officeDocument/2006/relationships/tags" Target="../tags/tag169.xml"/><Relationship Id="rId48" Type="http://schemas.openxmlformats.org/officeDocument/2006/relationships/tags" Target="../tags/tag174.xml"/><Relationship Id="rId56" Type="http://schemas.openxmlformats.org/officeDocument/2006/relationships/tags" Target="../tags/tag182.xml"/><Relationship Id="rId64" Type="http://schemas.openxmlformats.org/officeDocument/2006/relationships/tags" Target="../tags/tag190.xml"/><Relationship Id="rId69" Type="http://schemas.openxmlformats.org/officeDocument/2006/relationships/tags" Target="../tags/tag195.xml"/><Relationship Id="rId77" Type="http://schemas.openxmlformats.org/officeDocument/2006/relationships/tags" Target="../tags/tag203.xml"/><Relationship Id="rId8" Type="http://schemas.openxmlformats.org/officeDocument/2006/relationships/tags" Target="../tags/tag134.xml"/><Relationship Id="rId51" Type="http://schemas.openxmlformats.org/officeDocument/2006/relationships/tags" Target="../tags/tag177.xml"/><Relationship Id="rId72" Type="http://schemas.openxmlformats.org/officeDocument/2006/relationships/tags" Target="../tags/tag198.xml"/><Relationship Id="rId80" Type="http://schemas.openxmlformats.org/officeDocument/2006/relationships/tags" Target="../tags/tag206.xml"/><Relationship Id="rId85" Type="http://schemas.openxmlformats.org/officeDocument/2006/relationships/chart" Target="../charts/chart4.xml"/><Relationship Id="rId3" Type="http://schemas.openxmlformats.org/officeDocument/2006/relationships/tags" Target="../tags/tag129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33" Type="http://schemas.openxmlformats.org/officeDocument/2006/relationships/tags" Target="../tags/tag159.xml"/><Relationship Id="rId38" Type="http://schemas.openxmlformats.org/officeDocument/2006/relationships/tags" Target="../tags/tag164.xml"/><Relationship Id="rId46" Type="http://schemas.openxmlformats.org/officeDocument/2006/relationships/tags" Target="../tags/tag172.xml"/><Relationship Id="rId59" Type="http://schemas.openxmlformats.org/officeDocument/2006/relationships/tags" Target="../tags/tag185.xml"/><Relationship Id="rId67" Type="http://schemas.openxmlformats.org/officeDocument/2006/relationships/tags" Target="../tags/tag193.xml"/><Relationship Id="rId20" Type="http://schemas.openxmlformats.org/officeDocument/2006/relationships/tags" Target="../tags/tag146.xml"/><Relationship Id="rId41" Type="http://schemas.openxmlformats.org/officeDocument/2006/relationships/tags" Target="../tags/tag167.xml"/><Relationship Id="rId54" Type="http://schemas.openxmlformats.org/officeDocument/2006/relationships/tags" Target="../tags/tag180.xml"/><Relationship Id="rId62" Type="http://schemas.openxmlformats.org/officeDocument/2006/relationships/tags" Target="../tags/tag188.xml"/><Relationship Id="rId70" Type="http://schemas.openxmlformats.org/officeDocument/2006/relationships/tags" Target="../tags/tag196.xml"/><Relationship Id="rId75" Type="http://schemas.openxmlformats.org/officeDocument/2006/relationships/tags" Target="../tags/tag201.xml"/><Relationship Id="rId83" Type="http://schemas.openxmlformats.org/officeDocument/2006/relationships/oleObject" Target="../embeddings/oleObject26.bin"/><Relationship Id="rId88" Type="http://schemas.openxmlformats.org/officeDocument/2006/relationships/hyperlink" Target="https://www.iea.org/reports/world-energy-investment-2025" TargetMode="External"/><Relationship Id="rId91" Type="http://schemas.openxmlformats.org/officeDocument/2006/relationships/hyperlink" Target="https://business.columbia.edu/insights/climate/cki" TargetMode="Externa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tags" Target="../tags/tag154.xml"/><Relationship Id="rId36" Type="http://schemas.openxmlformats.org/officeDocument/2006/relationships/tags" Target="../tags/tag162.xml"/><Relationship Id="rId49" Type="http://schemas.openxmlformats.org/officeDocument/2006/relationships/tags" Target="../tags/tag175.xml"/><Relationship Id="rId57" Type="http://schemas.openxmlformats.org/officeDocument/2006/relationships/tags" Target="../tags/tag183.xml"/><Relationship Id="rId10" Type="http://schemas.openxmlformats.org/officeDocument/2006/relationships/tags" Target="../tags/tag136.xml"/><Relationship Id="rId31" Type="http://schemas.openxmlformats.org/officeDocument/2006/relationships/tags" Target="../tags/tag157.xml"/><Relationship Id="rId44" Type="http://schemas.openxmlformats.org/officeDocument/2006/relationships/tags" Target="../tags/tag170.xml"/><Relationship Id="rId52" Type="http://schemas.openxmlformats.org/officeDocument/2006/relationships/tags" Target="../tags/tag178.xml"/><Relationship Id="rId60" Type="http://schemas.openxmlformats.org/officeDocument/2006/relationships/tags" Target="../tags/tag186.xml"/><Relationship Id="rId65" Type="http://schemas.openxmlformats.org/officeDocument/2006/relationships/tags" Target="../tags/tag191.xml"/><Relationship Id="rId73" Type="http://schemas.openxmlformats.org/officeDocument/2006/relationships/tags" Target="../tags/tag199.xml"/><Relationship Id="rId78" Type="http://schemas.openxmlformats.org/officeDocument/2006/relationships/tags" Target="../tags/tag204.xml"/><Relationship Id="rId81" Type="http://schemas.openxmlformats.org/officeDocument/2006/relationships/tags" Target="../tags/tag207.xml"/><Relationship Id="rId86" Type="http://schemas.openxmlformats.org/officeDocument/2006/relationships/chart" Target="../charts/chart5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39" Type="http://schemas.openxmlformats.org/officeDocument/2006/relationships/tags" Target="../tags/tag165.xml"/><Relationship Id="rId34" Type="http://schemas.openxmlformats.org/officeDocument/2006/relationships/tags" Target="../tags/tag160.xml"/><Relationship Id="rId50" Type="http://schemas.openxmlformats.org/officeDocument/2006/relationships/tags" Target="../tags/tag176.xml"/><Relationship Id="rId55" Type="http://schemas.openxmlformats.org/officeDocument/2006/relationships/tags" Target="../tags/tag181.xml"/><Relationship Id="rId76" Type="http://schemas.openxmlformats.org/officeDocument/2006/relationships/tags" Target="../tags/tag202.xml"/><Relationship Id="rId7" Type="http://schemas.openxmlformats.org/officeDocument/2006/relationships/tags" Target="../tags/tag133.xml"/><Relationship Id="rId71" Type="http://schemas.openxmlformats.org/officeDocument/2006/relationships/tags" Target="../tags/tag197.xml"/><Relationship Id="rId2" Type="http://schemas.openxmlformats.org/officeDocument/2006/relationships/tags" Target="../tags/tag128.xml"/><Relationship Id="rId29" Type="http://schemas.openxmlformats.org/officeDocument/2006/relationships/tags" Target="../tags/tag155.xml"/><Relationship Id="rId24" Type="http://schemas.openxmlformats.org/officeDocument/2006/relationships/tags" Target="../tags/tag150.xml"/><Relationship Id="rId40" Type="http://schemas.openxmlformats.org/officeDocument/2006/relationships/tags" Target="../tags/tag166.xml"/><Relationship Id="rId45" Type="http://schemas.openxmlformats.org/officeDocument/2006/relationships/tags" Target="../tags/tag171.xml"/><Relationship Id="rId66" Type="http://schemas.openxmlformats.org/officeDocument/2006/relationships/tags" Target="../tags/tag192.xml"/><Relationship Id="rId87" Type="http://schemas.openxmlformats.org/officeDocument/2006/relationships/chart" Target="../charts/chart6.xml"/><Relationship Id="rId61" Type="http://schemas.openxmlformats.org/officeDocument/2006/relationships/tags" Target="../tags/tag187.xml"/><Relationship Id="rId82" Type="http://schemas.openxmlformats.org/officeDocument/2006/relationships/slideLayout" Target="../slideLayouts/slideLayout10.xml"/><Relationship Id="rId19" Type="http://schemas.openxmlformats.org/officeDocument/2006/relationships/tags" Target="../tags/tag1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6F426C-36CD-48C6-A503-D7CDEDF20CE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6448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2" imgH="514" progId="TCLayout.ActiveDocument.1">
                  <p:embed/>
                </p:oleObj>
              </mc:Choice>
              <mc:Fallback>
                <p:oleObj name="think-cell Slide" r:id="rId3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62EE8E-B786-4335-94F7-70CEE5F21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>
            <a:normAutofit/>
          </a:bodyPr>
          <a:lstStyle/>
          <a:p>
            <a:r>
              <a:rPr lang="en-US"/>
              <a:t>Probable Clim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694590-C3EA-4CB4-81E9-50DC66D773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45720" rIns="91440" bIns="45720" rtlCol="0" anchor="t">
            <a:normAutofit/>
          </a:bodyPr>
          <a:lstStyle/>
          <a:p>
            <a:r>
              <a:rPr lang="en-US" dirty="0" err="1">
                <a:latin typeface="Arial"/>
                <a:cs typeface="Arial"/>
              </a:rPr>
              <a:t>Hyae</a:t>
            </a:r>
            <a:r>
              <a:rPr lang="en-US" dirty="0">
                <a:latin typeface="Arial"/>
                <a:cs typeface="Arial"/>
              </a:rPr>
              <a:t> Ryung Kim, Anika Behrndt, Zacharia Thurston, Isabel Hoyos, and Gernot Wagner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8DA8C5-1184-4651-9974-ACD11A3195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l"/>
            <a:r>
              <a:rPr lang="en-US" dirty="0">
                <a:latin typeface="Arial"/>
                <a:cs typeface="Arial"/>
              </a:rPr>
              <a:t>27 January 2026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27C818-AEC7-D390-E569-D18F86493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400" dirty="0"/>
              <a:t>Cite as: Wagner et al. “Probable Climates,” Columbia Business School Climate Knowledge Initiative (27 January 2026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76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3F6B4-EB88-8263-249C-4F75D9DE6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AF6ABD-4941-DFA7-5933-DAFE4BE0857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405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0" imgW="484" imgH="486" progId="TCLayout.ActiveDocument.1">
                  <p:embed/>
                </p:oleObj>
              </mc:Choice>
              <mc:Fallback>
                <p:oleObj name="think-cell Slide" r:id="rId100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AF6ABD-4941-DFA7-5933-DAFE4BE08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0" name="Rectangle 239"/>
          <p:cNvSpPr/>
          <p:nvPr/>
        </p:nvSpPr>
        <p:spPr bwMode="gray">
          <a:xfrm>
            <a:off x="4860823" y="3922733"/>
            <a:ext cx="1501141" cy="11158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5CB7043-0978-E6BB-0C5D-E24A5A1C9B6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15643223"/>
              </p:ext>
            </p:extLst>
          </p:nvPr>
        </p:nvGraphicFramePr>
        <p:xfrm>
          <a:off x="4775200" y="3019425"/>
          <a:ext cx="1684338" cy="2662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sp>
        <p:nvSpPr>
          <p:cNvPr id="12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6505575" y="55229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7B2EF97-675D-475B-8CB1-6895A2AFECD5}" type="datetime'''''''0'''''''',''''''''''''''''''''''''''5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en-US" sz="1000"/>
          </a:p>
        </p:txBody>
      </p:sp>
      <p:sp>
        <p:nvSpPr>
          <p:cNvPr id="12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6505575" y="5245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43198B7-2170-4608-89E7-2642CE6800F0}" type="datetime'1'''''',''''''''''''''''''''''''''0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0</a:t>
            </a:fld>
            <a:endParaRPr lang="en-US" sz="1000"/>
          </a:p>
        </p:txBody>
      </p:sp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505575" y="49672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BC03045-E94F-448C-97D1-14E9E6DD17E1}" type="datetime'1'''''''''''''''''''''''''''',''''''5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5</a:t>
            </a:fld>
            <a:endParaRPr lang="en-US" sz="1000"/>
          </a:p>
        </p:txBody>
      </p:sp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505575" y="46910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EBF2379-C71F-4066-BA66-32D6C83F1D4E}" type="datetime'''2'''''''''',''''''''''''''0''''''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,0</a:t>
            </a:fld>
            <a:endParaRPr lang="en-US" sz="1000"/>
          </a:p>
        </p:txBody>
      </p:sp>
      <p:sp>
        <p:nvSpPr>
          <p:cNvPr id="12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505575" y="4413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7C5D542-CA46-40A0-BFC8-4B2A1F71AFA5}" type="datetime'''''''''''''''''''''''2'',''5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,5</a:t>
            </a:fld>
            <a:endParaRPr lang="en-US" sz="1000"/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505575" y="41354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CBCC9DD-585C-474B-81F7-DA8F8D43871C}" type="datetime'''3'''''''''''''''''''''''''',''0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,0</a:t>
            </a:fld>
            <a:endParaRPr lang="en-US" sz="1000"/>
          </a:p>
        </p:txBody>
      </p:sp>
      <p:sp>
        <p:nvSpPr>
          <p:cNvPr id="1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505575" y="3857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C7ECD56-5D7D-4E24-95BF-DBB23B3FB3D1}" type="datetime'''''''3'''''''''''''''',''''5''''''''''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,5</a:t>
            </a:fld>
            <a:endParaRPr lang="en-US" sz="1000"/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505575" y="35814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5D8F734-0DE0-4402-83A8-EA1640CCA58D}" type="datetime'4'''''''''''''''''''''''''''',''''0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,0</a:t>
            </a:fld>
            <a:endParaRPr lang="en-US" sz="1000"/>
          </a:p>
        </p:txBody>
      </p:sp>
      <p:sp>
        <p:nvSpPr>
          <p:cNvPr id="13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505575" y="33035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504E5C4-3D63-403B-9256-11F84839297A}" type="datetime'''''''''''4,''''''''''5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,5</a:t>
            </a:fld>
            <a:endParaRPr lang="en-US" sz="1000"/>
          </a:p>
        </p:txBody>
      </p:sp>
      <p:sp>
        <p:nvSpPr>
          <p:cNvPr id="13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505575" y="30257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F7683CC-335E-4F20-AD56-4B533EEB6898}" type="datetime'''''''''5'''''''''''''''''''''''''',''''0''''''''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,0</a:t>
            </a:fld>
            <a:endParaRPr lang="en-US" sz="1000"/>
          </a:p>
        </p:txBody>
      </p:sp>
      <p:cxnSp>
        <p:nvCxnSpPr>
          <p:cNvPr id="46" name="Straight Connector 45"/>
          <p:cNvCxnSpPr/>
          <p:nvPr>
            <p:custDataLst>
              <p:tags r:id="rId14"/>
            </p:custDataLst>
          </p:nvPr>
        </p:nvCxnSpPr>
        <p:spPr bwMode="auto">
          <a:xfrm flipV="1">
            <a:off x="4941888" y="5137150"/>
            <a:ext cx="0" cy="23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5"/>
            </p:custDataLst>
          </p:nvPr>
        </p:nvCxnSpPr>
        <p:spPr bwMode="auto">
          <a:xfrm>
            <a:off x="5110163" y="4927600"/>
            <a:ext cx="0" cy="23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6"/>
            </p:custDataLst>
          </p:nvPr>
        </p:nvCxnSpPr>
        <p:spPr bwMode="auto">
          <a:xfrm flipV="1">
            <a:off x="5280025" y="5026025"/>
            <a:ext cx="0" cy="23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17"/>
            </p:custDataLst>
          </p:nvPr>
        </p:nvCxnSpPr>
        <p:spPr bwMode="auto">
          <a:xfrm>
            <a:off x="5448300" y="4789488"/>
            <a:ext cx="0" cy="23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18"/>
            </p:custDataLst>
          </p:nvPr>
        </p:nvCxnSpPr>
        <p:spPr bwMode="auto">
          <a:xfrm flipV="1">
            <a:off x="5616575" y="4703763"/>
            <a:ext cx="0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9"/>
            </p:custDataLst>
          </p:nvPr>
        </p:nvCxnSpPr>
        <p:spPr bwMode="auto">
          <a:xfrm>
            <a:off x="5786438" y="4538663"/>
            <a:ext cx="0" cy="23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20"/>
            </p:custDataLst>
          </p:nvPr>
        </p:nvCxnSpPr>
        <p:spPr bwMode="auto">
          <a:xfrm flipV="1">
            <a:off x="5953125" y="4470400"/>
            <a:ext cx="0" cy="68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21"/>
            </p:custDataLst>
          </p:nvPr>
        </p:nvCxnSpPr>
        <p:spPr bwMode="auto">
          <a:xfrm flipV="1">
            <a:off x="6265863" y="3884613"/>
            <a:ext cx="7938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837113" y="5160963"/>
            <a:ext cx="209550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6D5391-87A2-4C06-A888-8B02B8D30725}" type="datetime'1'''''''''''''''',5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5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5005388" y="4775200"/>
            <a:ext cx="209550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D1878E9-FE67-4750-830B-906A55C26EC3}" type="datetime'''1'''''',''''''''''''6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175250" y="5049838"/>
            <a:ext cx="209550" cy="152400"/>
          </a:xfrm>
          <a:prstGeom prst="rect">
            <a:avLst/>
          </a:prstGeom>
          <a:solidFill>
            <a:srgbClr val="3DC0A7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5DC55C-9B99-4ABE-A6D2-E0F7120808C7}" type="datetime'''''''''1'''''''''''''''''''''''''''''''''',''''''7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7</a:t>
            </a:fld>
            <a:endParaRPr lang="en-US" sz="1000"/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343525" y="4637088"/>
            <a:ext cx="209550" cy="152400"/>
          </a:xfrm>
          <a:prstGeom prst="rect">
            <a:avLst/>
          </a:prstGeom>
          <a:solidFill>
            <a:srgbClr val="AAD16E"/>
          </a:solidFill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CA6F2E-AE67-422E-A370-C096BAF59067}" type="datetime'''1'''''''''''''''''''''''''''''''''''',''''''8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8</a:t>
            </a:fld>
            <a:endParaRPr lang="en-US" sz="1000"/>
          </a:p>
        </p:txBody>
      </p:sp>
      <p:sp>
        <p:nvSpPr>
          <p:cNvPr id="1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511800" y="4791075"/>
            <a:ext cx="209550" cy="152400"/>
          </a:xfrm>
          <a:prstGeom prst="rect">
            <a:avLst/>
          </a:prstGeom>
          <a:solidFill>
            <a:srgbClr val="FFE54F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BEF1EA4-768C-4CEF-9C17-A9504071C943}" type="datetime'''''''''''''''''''''''''''''''2,''''''''''2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,2</a:t>
            </a:fld>
            <a:endParaRPr lang="en-US" sz="100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681663" y="4386263"/>
            <a:ext cx="209550" cy="152400"/>
          </a:xfrm>
          <a:prstGeom prst="rect">
            <a:avLst/>
          </a:prstGeom>
          <a:solidFill>
            <a:srgbClr val="F7C100"/>
          </a:solidFill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A58C55-94CD-44BE-83C0-F3709DA45365}" type="datetime'''2'',3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</a:t>
            </a:fld>
            <a:endParaRPr lang="en-US" sz="1000"/>
          </a:p>
        </p:txBody>
      </p:sp>
      <p:sp>
        <p:nvSpPr>
          <p:cNvPr id="14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5846763" y="4538663"/>
            <a:ext cx="209550" cy="152400"/>
          </a:xfrm>
          <a:prstGeom prst="rect">
            <a:avLst/>
          </a:prstGeom>
          <a:solidFill>
            <a:srgbClr val="FF9004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9D1546C-D08B-43DB-9683-E30BE7FFD8BA}" type="datetime'''''''''''2'''''''''',''''''''''''''''7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,7</a:t>
            </a:fld>
            <a:endParaRPr lang="en-US" sz="1000"/>
          </a:p>
        </p:txBody>
      </p:sp>
      <p:sp useBgFill="1">
        <p:nvSpPr>
          <p:cNvPr id="557" name="Text Placeholder 10">
            <a:extLst>
              <a:ext uri="{FF2B5EF4-FFF2-40B4-BE49-F238E27FC236}">
                <a16:creationId xmlns:a16="http://schemas.microsoft.com/office/drawing/2014/main" id="{73CCADCA-A75B-37F7-E276-0F9CF1E3BF1C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6018213" y="4081463"/>
            <a:ext cx="209550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1A7E2F-2BA4-4E46-8E0B-23DDA41D0DAC}" type="datetime'''''''''''''''''''''''2,''''''''''''''''8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8</a:t>
            </a:fld>
            <a:endParaRPr lang="en-US" sz="1000"/>
          </a:p>
        </p:txBody>
      </p:sp>
      <p:sp>
        <p:nvSpPr>
          <p:cNvPr id="159" name="Text Placeholder 10">
            <a:extLst>
              <a:ext uri="{FF2B5EF4-FFF2-40B4-BE49-F238E27FC236}">
                <a16:creationId xmlns:a16="http://schemas.microsoft.com/office/drawing/2014/main" id="{D10B82C0-6083-6F52-D148-A42C11AA250B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6135688" y="3911600"/>
            <a:ext cx="209550" cy="15240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6DD834-FC6F-4FC3-B09D-671E4E07B735}" type="datetime'''''''''''3,''''''''''''''''''7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7</a:t>
            </a:fld>
            <a:endParaRPr lang="en-US" sz="1000">
              <a:solidFill>
                <a:schemeClr val="bg1"/>
              </a:solidFill>
            </a:endParaRPr>
          </a:p>
        </p:txBody>
      </p:sp>
      <p:cxnSp>
        <p:nvCxnSpPr>
          <p:cNvPr id="559" name="Straight Connector 558"/>
          <p:cNvCxnSpPr/>
          <p:nvPr>
            <p:custDataLst>
              <p:tags r:id="rId31"/>
            </p:custDataLst>
          </p:nvPr>
        </p:nvCxnSpPr>
        <p:spPr bwMode="auto">
          <a:xfrm>
            <a:off x="1027113" y="5241925"/>
            <a:ext cx="0" cy="50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1" name="Straight Connector 560"/>
          <p:cNvCxnSpPr/>
          <p:nvPr>
            <p:custDataLst>
              <p:tags r:id="rId32"/>
            </p:custDataLst>
          </p:nvPr>
        </p:nvCxnSpPr>
        <p:spPr bwMode="auto">
          <a:xfrm>
            <a:off x="1749425" y="5241925"/>
            <a:ext cx="0" cy="50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3" name="Straight Connector 562"/>
          <p:cNvCxnSpPr/>
          <p:nvPr>
            <p:custDataLst>
              <p:tags r:id="rId33"/>
            </p:custDataLst>
          </p:nvPr>
        </p:nvCxnSpPr>
        <p:spPr bwMode="auto">
          <a:xfrm>
            <a:off x="2470150" y="5241925"/>
            <a:ext cx="0" cy="50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/>
          <p:nvPr>
            <p:custDataLst>
              <p:tags r:id="rId34"/>
            </p:custDataLst>
          </p:nvPr>
        </p:nvCxnSpPr>
        <p:spPr bwMode="auto">
          <a:xfrm>
            <a:off x="3192463" y="5241925"/>
            <a:ext cx="0" cy="50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4" name="Straight Connector 573"/>
          <p:cNvCxnSpPr/>
          <p:nvPr>
            <p:custDataLst>
              <p:tags r:id="rId35"/>
            </p:custDataLst>
          </p:nvPr>
        </p:nvCxnSpPr>
        <p:spPr bwMode="auto">
          <a:xfrm>
            <a:off x="3913188" y="5241925"/>
            <a:ext cx="0" cy="50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5" name="Straight Connector 574"/>
          <p:cNvCxnSpPr/>
          <p:nvPr>
            <p:custDataLst>
              <p:tags r:id="rId36"/>
            </p:custDataLst>
          </p:nvPr>
        </p:nvCxnSpPr>
        <p:spPr bwMode="auto">
          <a:xfrm>
            <a:off x="4635500" y="5241925"/>
            <a:ext cx="0" cy="50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2843275-037F-0CEA-8DBD-25E149B316D9}"/>
              </a:ext>
            </a:extLst>
          </p:cNvPr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883587090"/>
              </p:ext>
            </p:extLst>
          </p:nvPr>
        </p:nvGraphicFramePr>
        <p:xfrm>
          <a:off x="180975" y="2921000"/>
          <a:ext cx="4537075" cy="2860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3"/>
          </a:graphicData>
        </a:graphic>
      </p:graphicFrame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7AABC320-2109-3D5B-599D-AA15CE566E0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858838" y="5649913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CAFDD70-542F-43A3-8976-92BCD7852573}" type="datetime'''''''''''''''''''''''''2''0''''''''00'''''">
              <a:rPr lang="en-US" altLang="en-US" sz="1200" smtClean="0">
                <a:solidFill>
                  <a:srgbClr val="000000"/>
                </a:solidFill>
                <a:sym typeface="Arial" panose="020B0604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0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AC297F3B-0359-A062-63E9-89697964042E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581150" y="5649913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E607D73-4BBA-43FF-9200-AAC0EDB7B4C7}" type="datetime'''''''''''''''''2''''''0''2''''''''''''''''''0'">
              <a:rPr lang="en-US" altLang="en-US" sz="1200" smtClean="0">
                <a:solidFill>
                  <a:srgbClr val="000000"/>
                </a:solidFill>
                <a:sym typeface="Arial" panose="020B0604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9F3F0BEC-D45D-FEE6-80BB-08A875D76D5D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2301875" y="5649913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2885F61-180C-4CA6-8BE1-131099F0DB95}" type="datetime'''''''''''''''''''''''''''''''''''''''''20''40'''''''''''''''">
              <a:rPr lang="en-US" altLang="en-US" sz="1200" smtClean="0">
                <a:solidFill>
                  <a:srgbClr val="000000"/>
                </a:solidFill>
                <a:sym typeface="Arial" panose="020B0604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4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170D2CE2-C92C-B38A-1D2D-A9ED0C29FFFD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3024188" y="5649913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465AE11-807A-445C-9468-4861957C6CEE}" type="datetime'''2''''''''0''''6''''''''0'''''''''''''''''''''''''">
              <a:rPr lang="en-US" altLang="en-US" sz="1200" smtClean="0">
                <a:solidFill>
                  <a:srgbClr val="000000"/>
                </a:solidFill>
                <a:sym typeface="Arial" panose="020B0604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6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FB8610D8-131B-6FA3-D34E-0BC3DE3F8AB1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3744913" y="5649913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83FF32D-40E3-4EC6-8C03-5A0CC9BEF92C}" type="datetime'''''''''''''2''''''''''''0''''''8''''''''''''''''''''0'''''">
              <a:rPr lang="en-US" altLang="en-US" sz="1200" smtClean="0">
                <a:solidFill>
                  <a:srgbClr val="000000"/>
                </a:solidFill>
                <a:sym typeface="Arial" panose="020B0604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8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53B42AEF-1219-42B4-5345-551B4DB00FA3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4467225" y="5649913"/>
            <a:ext cx="336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66AF7EE-56B8-4936-8EE5-F532D8DF752B}" type="datetime'''''''2''''''1''''0''''''0'''''''''''''">
              <a:rPr lang="en-US" altLang="en-US" sz="1200" smtClean="0">
                <a:solidFill>
                  <a:srgbClr val="000000"/>
                </a:solidFill>
                <a:sym typeface="Arial" panose="020B0604020202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00</a:t>
            </a:fld>
            <a:endParaRPr kumimoji="0" lang="en-US" sz="12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617" name="Text Placeholder 10">
            <a:extLst>
              <a:ext uri="{FF2B5EF4-FFF2-40B4-BE49-F238E27FC236}">
                <a16:creationId xmlns:a16="http://schemas.microsoft.com/office/drawing/2014/main" id="{FBA807F1-AA60-DA61-5B00-4D22D9C0D36B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346075" y="2706688"/>
            <a:ext cx="2482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ym typeface="Arial" panose="020B0604020202020204" pitchFamily="34" charset="0"/>
              </a:rPr>
              <a:t>Annual global CO</a:t>
            </a:r>
            <a:r>
              <a:rPr lang="en-US" altLang="en-US" sz="1200" baseline="-25000">
                <a:sym typeface="Arial" panose="020B0604020202020204" pitchFamily="34" charset="0"/>
              </a:rPr>
              <a:t>2 </a:t>
            </a:r>
            <a:r>
              <a:rPr lang="en-US" altLang="en-US" sz="1200">
                <a:sym typeface="Arial" panose="020B0604020202020204" pitchFamily="34" charset="0"/>
              </a:rPr>
              <a:t>emissions, GtCO</a:t>
            </a:r>
            <a:r>
              <a:rPr lang="en-US" altLang="en-US" sz="1200" baseline="-25000">
                <a:sym typeface="Arial" panose="020B0604020202020204" pitchFamily="34" charset="0"/>
              </a:rPr>
              <a:t>2</a:t>
            </a:r>
            <a:endParaRPr lang="en-US" sz="1200"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83B866-4A6B-8FC3-9505-F26B0B5F7E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513568"/>
            <a:ext cx="11680253" cy="754846"/>
          </a:xfrm>
        </p:spPr>
        <p:txBody>
          <a:bodyPr vert="horz" rIns="91440">
            <a:noAutofit/>
          </a:bodyPr>
          <a:lstStyle/>
          <a:p>
            <a:r>
              <a:rPr lang="en-US" dirty="0">
                <a:effectLst/>
                <a:latin typeface="Arial" panose="020B0604020202020204" pitchFamily="34" charset="0"/>
              </a:rPr>
              <a:t>Early </a:t>
            </a:r>
            <a:r>
              <a:rPr lang="en-US" dirty="0">
                <a:latin typeface="Arial" panose="020B0604020202020204" pitchFamily="34" charset="0"/>
              </a:rPr>
              <a:t>decarbonization investments are key</a:t>
            </a:r>
            <a:r>
              <a:rPr lang="en-US" dirty="0">
                <a:effectLst/>
                <a:latin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</a:rPr>
              <a:t>to</a:t>
            </a:r>
            <a:r>
              <a:rPr lang="en-US" dirty="0">
                <a:effectLst/>
                <a:latin typeface="Arial" panose="020B0604020202020204" pitchFamily="34" charset="0"/>
              </a:rPr>
              <a:t> keeping temperatures within livable range</a:t>
            </a:r>
            <a:r>
              <a:rPr lang="en-US" dirty="0">
                <a:latin typeface="Arial" panose="020B0604020202020204" pitchFamily="34" charset="0"/>
              </a:rPr>
              <a:t> and</a:t>
            </a:r>
            <a:r>
              <a:rPr lang="en-US" dirty="0">
                <a:effectLst/>
                <a:latin typeface="Arial" panose="020B0604020202020204" pitchFamily="34" charset="0"/>
              </a:rPr>
              <a:t> saving </a:t>
            </a:r>
            <a:r>
              <a:rPr lang="en-US" dirty="0">
                <a:latin typeface="Arial" panose="020B0604020202020204" pitchFamily="34" charset="0"/>
              </a:rPr>
              <a:t>trillions</a:t>
            </a:r>
            <a:r>
              <a:rPr lang="en-US" dirty="0">
                <a:effectLst/>
                <a:latin typeface="Arial" panose="020B0604020202020204" pitchFamily="34" charset="0"/>
              </a:rPr>
              <a:t> in climate costs</a:t>
            </a:r>
          </a:p>
        </p:txBody>
      </p:sp>
      <p:sp>
        <p:nvSpPr>
          <p:cNvPr id="3" name="btfpNotesBox962619">
            <a:extLst>
              <a:ext uri="{FF2B5EF4-FFF2-40B4-BE49-F238E27FC236}">
                <a16:creationId xmlns:a16="http://schemas.microsoft.com/office/drawing/2014/main" id="{B57B1EF3-F904-24E9-1CF6-B9231C893623}"/>
              </a:ext>
            </a:extLst>
          </p:cNvPr>
          <p:cNvSpPr txBox="1"/>
          <p:nvPr>
            <p:custDataLst>
              <p:tags r:id="rId45"/>
            </p:custDataLst>
          </p:nvPr>
        </p:nvSpPr>
        <p:spPr bwMode="gray">
          <a:xfrm>
            <a:off x="348235" y="6189821"/>
            <a:ext cx="9105989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800" baseline="30000" dirty="0">
                <a:solidFill>
                  <a:srgbClr val="000000"/>
                </a:solidFill>
              </a:rPr>
              <a:t>1 </a:t>
            </a:r>
            <a:r>
              <a:rPr lang="en-US" sz="800" dirty="0">
                <a:solidFill>
                  <a:srgbClr val="000000"/>
                </a:solidFill>
              </a:rPr>
              <a:t>Global warming by 2100 above 1850-1900 average, with 66% “likely” ranges. “Probable” ranges are based on own best estimate of current trends.</a:t>
            </a:r>
          </a:p>
          <a:p>
            <a:r>
              <a:rPr lang="en-US" sz="800" baseline="30000" dirty="0">
                <a:solidFill>
                  <a:srgbClr val="000000"/>
                </a:solidFill>
              </a:rPr>
              <a:t>2 </a:t>
            </a:r>
            <a:r>
              <a:rPr lang="en-US" sz="800" dirty="0">
                <a:solidFill>
                  <a:srgbClr val="000000"/>
                </a:solidFill>
              </a:rPr>
              <a:t>Global warming of &gt;2°C is expected to trigger tipping points with large, highly uncertain costs — e.g., Moore et al., </a:t>
            </a:r>
            <a:r>
              <a:rPr lang="en-US" sz="800" dirty="0">
                <a:solidFill>
                  <a:srgbClr val="000000"/>
                </a:solidFill>
                <a:hlinkClick r:id="rId104"/>
              </a:rPr>
              <a:t>PNAS</a:t>
            </a:r>
            <a:r>
              <a:rPr lang="en-US" sz="800" dirty="0">
                <a:solidFill>
                  <a:srgbClr val="000000"/>
                </a:solidFill>
              </a:rPr>
              <a:t> (2024); Dietz et al., </a:t>
            </a:r>
            <a:r>
              <a:rPr lang="en-US" sz="800" dirty="0">
                <a:solidFill>
                  <a:srgbClr val="000000"/>
                </a:solidFill>
                <a:hlinkClick r:id="rId105"/>
              </a:rPr>
              <a:t>PNAS</a:t>
            </a:r>
            <a:r>
              <a:rPr lang="en-US" sz="800" dirty="0">
                <a:solidFill>
                  <a:srgbClr val="000000"/>
                </a:solidFill>
              </a:rPr>
              <a:t> (2021).</a:t>
            </a:r>
          </a:p>
          <a:p>
            <a:r>
              <a:rPr lang="en-US" sz="800" dirty="0">
                <a:solidFill>
                  <a:srgbClr val="000000"/>
                </a:solidFill>
              </a:rPr>
              <a:t>Sources: IPCC, </a:t>
            </a:r>
            <a:r>
              <a:rPr lang="en-US" sz="800" dirty="0">
                <a:solidFill>
                  <a:srgbClr val="000000"/>
                </a:solidFill>
                <a:hlinkClick r:id="rId106"/>
              </a:rPr>
              <a:t>Climate Change Synthesis Report</a:t>
            </a:r>
            <a:r>
              <a:rPr lang="en-US" sz="800" dirty="0">
                <a:solidFill>
                  <a:srgbClr val="000000"/>
                </a:solidFill>
              </a:rPr>
              <a:t> (2023); Shell, </a:t>
            </a:r>
            <a:r>
              <a:rPr lang="en-US" sz="800" dirty="0">
                <a:solidFill>
                  <a:srgbClr val="000000"/>
                </a:solidFill>
                <a:hlinkClick r:id="rId107"/>
              </a:rPr>
              <a:t>The Energy Security Scenarios</a:t>
            </a:r>
            <a:r>
              <a:rPr lang="en-US" sz="800" dirty="0">
                <a:solidFill>
                  <a:srgbClr val="000000"/>
                </a:solidFill>
              </a:rPr>
              <a:t> (2025); IEA, </a:t>
            </a:r>
            <a:r>
              <a:rPr lang="en-US" sz="800" dirty="0">
                <a:solidFill>
                  <a:srgbClr val="000000"/>
                </a:solidFill>
                <a:hlinkClick r:id="rId108"/>
              </a:rPr>
              <a:t>World Energy Outlook</a:t>
            </a:r>
            <a:r>
              <a:rPr lang="en-US" sz="800" dirty="0">
                <a:solidFill>
                  <a:srgbClr val="000000"/>
                </a:solidFill>
              </a:rPr>
              <a:t> (2024); Nature</a:t>
            </a:r>
            <a:r>
              <a:rPr lang="en-US" sz="800" i="1" dirty="0">
                <a:solidFill>
                  <a:srgbClr val="000000"/>
                </a:solidFill>
              </a:rPr>
              <a:t>,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>
                <a:hlinkClick r:id="rId109"/>
              </a:rPr>
              <a:t>Emissions – the ‘business as usual’ story is misleading</a:t>
            </a:r>
            <a:r>
              <a:rPr lang="en-US" sz="800" dirty="0"/>
              <a:t> </a:t>
            </a:r>
            <a:r>
              <a:rPr lang="en-US" sz="800" dirty="0">
                <a:solidFill>
                  <a:srgbClr val="000000"/>
                </a:solidFill>
              </a:rPr>
              <a:t>(2020); BNEF, </a:t>
            </a:r>
            <a:r>
              <a:rPr lang="en-US" sz="800" dirty="0">
                <a:solidFill>
                  <a:srgbClr val="000000"/>
                </a:solidFill>
                <a:hlinkClick r:id="rId110"/>
              </a:rPr>
              <a:t>Energy Transition Investment Trends</a:t>
            </a:r>
            <a:r>
              <a:rPr lang="en-US" sz="800" dirty="0">
                <a:solidFill>
                  <a:srgbClr val="000000"/>
                </a:solidFill>
              </a:rPr>
              <a:t> (2026).</a:t>
            </a:r>
          </a:p>
          <a:p>
            <a:r>
              <a:rPr lang="en-US" sz="800" dirty="0">
                <a:solidFill>
                  <a:srgbClr val="000000"/>
                </a:solidFill>
              </a:rPr>
              <a:t>Credit: Anika Behrndt, Zacharia Thurston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11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112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 et al., “Probable Climates” (27 January 2026).</a:t>
            </a:r>
            <a:endParaRPr lang="en-US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D841B0AE-46A0-DB59-1A77-F291805BF2B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48250" y="31210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500024-6B19-E5E3-8473-0DDC910A3557}"/>
              </a:ext>
            </a:extLst>
          </p:cNvPr>
          <p:cNvSpPr/>
          <p:nvPr/>
        </p:nvSpPr>
        <p:spPr bwMode="gray">
          <a:xfrm>
            <a:off x="733968" y="1920634"/>
            <a:ext cx="4546057" cy="6897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cxnSp>
        <p:nvCxnSpPr>
          <p:cNvPr id="14358" name="Straight Connector 14357">
            <a:extLst>
              <a:ext uri="{FF2B5EF4-FFF2-40B4-BE49-F238E27FC236}">
                <a16:creationId xmlns:a16="http://schemas.microsoft.com/office/drawing/2014/main" id="{6C7D6AF2-17D7-72CF-81B0-66001ACC2FB7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482600" y="1990725"/>
            <a:ext cx="228600" cy="0"/>
          </a:xfrm>
          <a:prstGeom prst="line">
            <a:avLst/>
          </a:prstGeom>
          <a:ln w="12700" cap="rnd" cmpd="sng" algn="ctr">
            <a:solidFill>
              <a:srgbClr val="3DC0A7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DE28EE3-BDD8-ED39-2DF7-B3D7BC3A6BBC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490538" y="2193925"/>
            <a:ext cx="212725" cy="0"/>
          </a:xfrm>
          <a:prstGeom prst="line">
            <a:avLst/>
          </a:prstGeom>
          <a:ln w="28575" cap="rnd" cmpd="sng" algn="ctr">
            <a:solidFill>
              <a:srgbClr val="EA604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4741855-3BDE-0637-6A64-7B4906C5A347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511175" y="2397125"/>
            <a:ext cx="171450" cy="0"/>
          </a:xfrm>
          <a:prstGeom prst="line">
            <a:avLst/>
          </a:prstGeom>
          <a:ln w="9525" cap="rnd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548D0B-51C9-040A-C92B-82D78C15B439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1754188" y="1990725"/>
            <a:ext cx="228600" cy="0"/>
          </a:xfrm>
          <a:prstGeom prst="line">
            <a:avLst/>
          </a:prstGeom>
          <a:ln w="12700" cap="rnd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7F5A681-C4EB-AAC9-C9C3-5112EA3C8032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1754188" y="2193925"/>
            <a:ext cx="228600" cy="0"/>
          </a:xfrm>
          <a:prstGeom prst="line">
            <a:avLst/>
          </a:prstGeom>
          <a:ln w="12700" cap="rnd" cmpd="sng" algn="ctr">
            <a:solidFill>
              <a:srgbClr val="F7C10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E2F3B4-FE59-DF99-DE05-3F5AD463294C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1754188" y="2397125"/>
            <a:ext cx="228600" cy="0"/>
          </a:xfrm>
          <a:prstGeom prst="line">
            <a:avLst/>
          </a:prstGeom>
          <a:ln w="12700" cap="rnd" cmpd="sng" algn="ctr">
            <a:solidFill>
              <a:srgbClr val="FF9004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9" name="Straight Connector 1028">
            <a:extLst>
              <a:ext uri="{FF2B5EF4-FFF2-40B4-BE49-F238E27FC236}">
                <a16:creationId xmlns:a16="http://schemas.microsoft.com/office/drawing/2014/main" id="{EBF7B48A-9609-2992-9DA6-2E63140E5579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3525838" y="1990725"/>
            <a:ext cx="203200" cy="0"/>
          </a:xfrm>
          <a:prstGeom prst="line">
            <a:avLst/>
          </a:prstGeom>
          <a:ln w="38100" cap="rnd" cmpd="sng" algn="ctr">
            <a:solidFill>
              <a:srgbClr val="FFE54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D513C5-A8E3-46E5-9EA7-2CF5A2E157F7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3541713" y="2193925"/>
            <a:ext cx="171450" cy="0"/>
          </a:xfrm>
          <a:prstGeom prst="line">
            <a:avLst/>
          </a:prstGeom>
          <a:ln w="9525" cap="rnd" cmpd="sng" algn="ctr">
            <a:solidFill>
              <a:schemeClr val="accent6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EB5134-5B64-4ABA-9F7B-B699B64875F1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3541713" y="2397125"/>
            <a:ext cx="171450" cy="0"/>
          </a:xfrm>
          <a:prstGeom prst="line">
            <a:avLst/>
          </a:prstGeom>
          <a:ln w="9525" cap="rnd" cmpd="sng" algn="ctr">
            <a:solidFill>
              <a:srgbClr val="AAD16E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6" name="Text Placeholder 10">
            <a:extLst>
              <a:ext uri="{FF2B5EF4-FFF2-40B4-BE49-F238E27FC236}">
                <a16:creationId xmlns:a16="http://schemas.microsoft.com/office/drawing/2014/main" id="{167E7640-D1A9-BE53-B456-CD92F9D02D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68350" y="1919288"/>
            <a:ext cx="877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6B4B2D6-7906-4F51-A6E4-A715DD280359}" type="datetime'''''''I''''P''''CC'''' SS''''P''1-''2''''.''''''''''''6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PCC SSP1-2.6</a:t>
            </a:fld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2660C6FA-AA4F-B1D4-3E2B-C141066F50E7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768350" y="2122488"/>
            <a:ext cx="877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A516EF7-638C-4F8A-8149-14A396448172}" type="datetime'I''P''C''C'' ''S''''''S''''''''P''''2-''4''.''''''5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PCC SSP2-4.5</a:t>
            </a:fld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35D8A1F2-AE81-847F-A6E5-BC823752F8CA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68350" y="2325688"/>
            <a:ext cx="877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9D20BB5-E224-416A-8820-6400CCE41821}" type="datetime'I''''''''''PC''''''C ''''S''''''S''P3''-7''''.''''''''0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PCC SSP3-7.0</a:t>
            </a:fld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03C60411-6385-5428-0494-078CE275AD4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2039938" y="1919288"/>
            <a:ext cx="1212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IEA Net Zero by 2050</a:t>
            </a:r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86FA2E25-D056-66DF-1647-1AEDFE2340F3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2039938" y="2122488"/>
            <a:ext cx="1365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2B1C84E-FF2D-483D-8D8B-91316F7B5900}" type="datetime'IEA'' ''''An''''''''n''o''''un''ce''''d ''''P''l''e''d''ges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EA Announced Pledges</a:t>
            </a:fld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7E48CAAF-A165-8527-45E9-695A14A46D9E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2039938" y="2325688"/>
            <a:ext cx="1073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90B28B8-D60E-4E33-BC9F-EDC5CD3CC8AA}" type="datetime'IE''''''A'''' ''''''St''''''''ated'''' P''''o''li''ci''es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EA Stated Policies</a:t>
            </a:fld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1026" name="Text Placeholder 10">
            <a:extLst>
              <a:ext uri="{FF2B5EF4-FFF2-40B4-BE49-F238E27FC236}">
                <a16:creationId xmlns:a16="http://schemas.microsoft.com/office/drawing/2014/main" id="{4BA0F823-F6BF-4608-C3D3-A465F1F0B28B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3798888" y="1919288"/>
            <a:ext cx="1046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9A1B3A8-4735-4BA8-A074-B5A8BEC37A9B}" type="datetime'S''he''ll'''' A''''''''''r''''ch''i''pel''''ago''''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hell Archipelagos</a:t>
            </a:fld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544AA603-D805-4EF3-97EA-39EA28D7FDCF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798888" y="2122488"/>
            <a:ext cx="752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0163761-0661-4443-B9C3-7E4B37E56651}" type="datetime'S''''''h''''el''l'''''''''' ''''''H''o''''''r''''''''izo''n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hell Horizon</a:t>
            </a:fld>
            <a:endParaRPr lang="en-US" sz="1000">
              <a:sym typeface="Arial" panose="020B0604020202020204" pitchFamily="34" charset="0"/>
            </a:endParaRP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68596073-B10B-45F8-81A9-F3EFCC635A67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3798888" y="2325688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6E3DFE2-C984-4260-B6CB-ECD7260318B1}" type="datetime'''''''''S''''''''h''''e''''''''''''l''l ''''S''u''r''ge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hell Surge</a:t>
            </a:fld>
            <a:endParaRPr lang="en-US" sz="1000">
              <a:sym typeface="Arial" panose="020B0604020202020204" pitchFamily="34" charset="0"/>
            </a:endParaRPr>
          </a:p>
        </p:txBody>
      </p:sp>
      <p:cxnSp>
        <p:nvCxnSpPr>
          <p:cNvPr id="638" name="Straight Connector 637"/>
          <p:cNvCxnSpPr/>
          <p:nvPr>
            <p:custDataLst>
              <p:tags r:id="rId64"/>
            </p:custDataLst>
          </p:nvPr>
        </p:nvCxnSpPr>
        <p:spPr bwMode="gray">
          <a:xfrm>
            <a:off x="8693150" y="5286375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2" name="Straight Connector 1041"/>
          <p:cNvCxnSpPr/>
          <p:nvPr>
            <p:custDataLst>
              <p:tags r:id="rId65"/>
            </p:custDataLst>
          </p:nvPr>
        </p:nvCxnSpPr>
        <p:spPr bwMode="gray">
          <a:xfrm>
            <a:off x="8693150" y="4975225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0" name="Straight Connector 639"/>
          <p:cNvCxnSpPr/>
          <p:nvPr>
            <p:custDataLst>
              <p:tags r:id="rId66"/>
            </p:custDataLst>
          </p:nvPr>
        </p:nvCxnSpPr>
        <p:spPr bwMode="gray">
          <a:xfrm>
            <a:off x="8693150" y="4662488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6" name="Straight Connector 1055"/>
          <p:cNvCxnSpPr/>
          <p:nvPr>
            <p:custDataLst>
              <p:tags r:id="rId67"/>
            </p:custDataLst>
          </p:nvPr>
        </p:nvCxnSpPr>
        <p:spPr bwMode="gray">
          <a:xfrm>
            <a:off x="8693150" y="4351338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2" name="Straight Connector 641"/>
          <p:cNvCxnSpPr/>
          <p:nvPr>
            <p:custDataLst>
              <p:tags r:id="rId68"/>
            </p:custDataLst>
          </p:nvPr>
        </p:nvCxnSpPr>
        <p:spPr bwMode="gray">
          <a:xfrm>
            <a:off x="8693150" y="4038600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2" name="Straight Connector 1071"/>
          <p:cNvCxnSpPr/>
          <p:nvPr>
            <p:custDataLst>
              <p:tags r:id="rId69"/>
            </p:custDataLst>
          </p:nvPr>
        </p:nvCxnSpPr>
        <p:spPr bwMode="gray">
          <a:xfrm>
            <a:off x="8693150" y="3725863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880B7BF-D306-43BE-A0D2-49D13913255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8693150" y="3414713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DAD8879-A297-4EC0-AE56-824944B9CCD5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8693150" y="3101975"/>
            <a:ext cx="309880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0C33FC99-B414-7359-7C0D-181F24BF0B52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372448815"/>
              </p:ext>
            </p:extLst>
          </p:nvPr>
        </p:nvGraphicFramePr>
        <p:xfrm>
          <a:off x="8147050" y="2876550"/>
          <a:ext cx="3727450" cy="2947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cxnSp>
        <p:nvCxnSpPr>
          <p:cNvPr id="14354" name="Straight Connector 14353">
            <a:extLst>
              <a:ext uri="{FF2B5EF4-FFF2-40B4-BE49-F238E27FC236}">
                <a16:creationId xmlns:a16="http://schemas.microsoft.com/office/drawing/2014/main" id="{9F02FD62-FAB4-AB09-7CEE-B048AF9DBF8F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>
            <a:off x="10920413" y="3340100"/>
            <a:ext cx="3873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66" name="Straight Connector 14365">
            <a:extLst>
              <a:ext uri="{FF2B5EF4-FFF2-40B4-BE49-F238E27FC236}">
                <a16:creationId xmlns:a16="http://schemas.microsoft.com/office/drawing/2014/main" id="{D46C5C80-4390-AED2-26D6-0F3D5BFF1B06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1307763" y="3340100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B42965A-AE05-45BC-B73C-2A656CB5B68D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10920413" y="2659063"/>
            <a:ext cx="7747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CC152830-3C62-4337-A224-EEAC64269484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1695113" y="2659063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1BA976B-5999-4BD4-BFB5-373A6AB1700A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 flipV="1">
            <a:off x="10920413" y="2659063"/>
            <a:ext cx="0" cy="20066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8250239" y="2700339"/>
            <a:ext cx="1808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Annual investments, </a:t>
            </a:r>
            <a:r>
              <a:rPr lang="en-US" sz="1200">
                <a:solidFill>
                  <a:srgbClr val="000000"/>
                </a:solidFill>
              </a:rPr>
              <a:t>US$B</a:t>
            </a:r>
            <a:endParaRPr lang="en-US" sz="1200" baseline="-25000">
              <a:solidFill>
                <a:srgbClr val="000000"/>
              </a:solidFill>
              <a:cs typeface="Arial"/>
            </a:endParaRPr>
          </a:p>
        </p:txBody>
      </p:sp>
      <p:sp useBgFill="1">
        <p:nvSpPr>
          <p:cNvPr id="16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11133138" y="3681413"/>
            <a:ext cx="349250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</a:rPr>
              <a:t>5,600</a:t>
            </a:r>
            <a:endParaRPr lang="en-US" sz="1000"/>
          </a:p>
        </p:txBody>
      </p:sp>
      <p:sp useBgFill="1">
        <p:nvSpPr>
          <p:cNvPr id="57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11520488" y="3000375"/>
            <a:ext cx="349250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</a:rPr>
              <a:t>7,800</a:t>
            </a:r>
            <a:endParaRPr lang="en-US" sz="100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837613" y="56419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CC2557-DA9A-40F8-997C-A6AE73722418}" type="datetime'2''''''''''''''''''0''''''''''1''''''''''''''''''''''5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 dirty="0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9805988" y="56419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591592-D53A-4820-BC6C-38B6483C9D83}" type="datetime'''''''''''''''''''''''''''''''''2''''''''0''''''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10774363" y="56419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D80E5A-B79E-4BBE-AB04-E5B76F1C88A7}" type="datetime'''''''''''2''''0''''''''''''''25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 dirty="0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11161713" y="56419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2030</a:t>
            </a:r>
            <a:endParaRPr lang="en-US" sz="1000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11549063" y="56419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2050</a:t>
            </a:r>
            <a:endParaRPr lang="en-US" sz="1000" dirty="0"/>
          </a:p>
        </p:txBody>
      </p:sp>
      <p:sp>
        <p:nvSpPr>
          <p:cNvPr id="1435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10798175" y="3189288"/>
            <a:ext cx="633413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~2.5x</a:t>
            </a:r>
            <a:endParaRPr lang="en-US" sz="1400" b="1" dirty="0"/>
          </a:p>
        </p:txBody>
      </p:sp>
      <p:sp>
        <p:nvSpPr>
          <p:cNvPr id="17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11185525" y="2508250"/>
            <a:ext cx="633413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/>
              <a:t>&gt;3.5x</a:t>
            </a:r>
            <a:endParaRPr lang="en-US" sz="1400" b="1"/>
          </a:p>
        </p:txBody>
      </p:sp>
      <p:sp>
        <p:nvSpPr>
          <p:cNvPr id="361" name="Rectangle 360"/>
          <p:cNvSpPr/>
          <p:nvPr>
            <p:custDataLst>
              <p:tags r:id="rId88"/>
            </p:custDataLst>
          </p:nvPr>
        </p:nvSpPr>
        <p:spPr bwMode="auto">
          <a:xfrm>
            <a:off x="8693150" y="2143125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D0DA65F-D282-4ABC-9C19-053CFAF3E63C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8693150" y="234632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8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8923338" y="2138363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279858F-1F0C-4D55-890C-E9E57A1124F7}" type="datetime'''Ac''t''''''''''''''''''''''u''''''''''a''''''l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Actual</a:t>
            </a:fld>
            <a:endParaRPr lang="en-US" sz="1000"/>
          </a:p>
        </p:txBody>
      </p:sp>
      <p:sp>
        <p:nvSpPr>
          <p:cNvPr id="203" name="Text Placeholder 10">
            <a:extLst>
              <a:ext uri="{FF2B5EF4-FFF2-40B4-BE49-F238E27FC236}">
                <a16:creationId xmlns:a16="http://schemas.microsoft.com/office/drawing/2014/main" id="{AF151A18-2CC3-4ABE-B520-4D0870B651CC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8923338" y="2341563"/>
            <a:ext cx="1725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IEA Net Zero by 2050 scenario</a:t>
            </a:r>
            <a:endParaRPr lang="en-US" sz="1000"/>
          </a:p>
        </p:txBody>
      </p:sp>
      <p:sp>
        <p:nvSpPr>
          <p:cNvPr id="92" name="Rectangle 91"/>
          <p:cNvSpPr/>
          <p:nvPr>
            <p:custDataLst>
              <p:tags r:id="rId92"/>
            </p:custDataLst>
          </p:nvPr>
        </p:nvSpPr>
        <p:spPr bwMode="auto">
          <a:xfrm>
            <a:off x="5353050" y="2133600"/>
            <a:ext cx="179388" cy="133350"/>
          </a:xfrm>
          <a:prstGeom prst="rect">
            <a:avLst/>
          </a:prstGeom>
          <a:solidFill>
            <a:srgbClr val="F7C1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1" name="Oval 90"/>
          <p:cNvSpPr/>
          <p:nvPr>
            <p:custDataLst>
              <p:tags r:id="rId93"/>
            </p:custDataLst>
          </p:nvPr>
        </p:nvSpPr>
        <p:spPr bwMode="auto">
          <a:xfrm>
            <a:off x="5410200" y="1965325"/>
            <a:ext cx="63500" cy="635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4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5583238" y="1925638"/>
            <a:ext cx="414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/>
              <a:t>Median</a:t>
            </a:r>
          </a:p>
        </p:txBody>
      </p:sp>
      <p:sp>
        <p:nvSpPr>
          <p:cNvPr id="24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5583238" y="2128838"/>
            <a:ext cx="830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/>
              <a:t>“Likely” ranges</a:t>
            </a:r>
          </a:p>
        </p:txBody>
      </p:sp>
      <p:sp>
        <p:nvSpPr>
          <p:cNvPr id="101" name="Rectangle 100"/>
          <p:cNvSpPr/>
          <p:nvPr/>
        </p:nvSpPr>
        <p:spPr bwMode="gray">
          <a:xfrm>
            <a:off x="5353050" y="2128043"/>
            <a:ext cx="179388" cy="131763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33000">
                <a:srgbClr val="67E385"/>
              </a:gs>
              <a:gs pos="69000">
                <a:srgbClr val="FFD85D"/>
              </a:gs>
              <a:gs pos="100000">
                <a:srgbClr val="FF6D6D"/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50" name="Rectangle 249"/>
          <p:cNvSpPr/>
          <p:nvPr/>
        </p:nvSpPr>
        <p:spPr>
          <a:xfrm>
            <a:off x="6888090" y="2639526"/>
            <a:ext cx="1093788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200"/>
              <a:t>Climate impacts, % GDP loss</a:t>
            </a:r>
          </a:p>
        </p:txBody>
      </p:sp>
      <p:sp>
        <p:nvSpPr>
          <p:cNvPr id="269" name="Rectangle 268"/>
          <p:cNvSpPr/>
          <p:nvPr/>
        </p:nvSpPr>
        <p:spPr>
          <a:xfrm>
            <a:off x="4828326" y="2646337"/>
            <a:ext cx="1562344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200"/>
              <a:t>Projected average global warming</a:t>
            </a:r>
            <a:r>
              <a:rPr lang="en-US" altLang="en-US" sz="1200" baseline="30000"/>
              <a:t>1</a:t>
            </a:r>
            <a:r>
              <a:rPr lang="en-US" altLang="en-US" sz="1200"/>
              <a:t>, °C</a:t>
            </a:r>
          </a:p>
        </p:txBody>
      </p:sp>
      <p:sp>
        <p:nvSpPr>
          <p:cNvPr id="278" name="Rectangle 277"/>
          <p:cNvSpPr/>
          <p:nvPr/>
        </p:nvSpPr>
        <p:spPr bwMode="gray">
          <a:xfrm>
            <a:off x="5353050" y="2390458"/>
            <a:ext cx="174625" cy="1163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93" name="TextBox 192"/>
          <p:cNvSpPr txBox="1"/>
          <p:nvPr/>
        </p:nvSpPr>
        <p:spPr bwMode="gray">
          <a:xfrm>
            <a:off x="5553075" y="2340572"/>
            <a:ext cx="1287463" cy="23336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dirty="0"/>
              <a:t>“Probable” outcomes</a:t>
            </a:r>
          </a:p>
        </p:txBody>
      </p:sp>
      <p:sp>
        <p:nvSpPr>
          <p:cNvPr id="133" name="btfpCallout806132">
            <a:extLst>
              <a:ext uri="{FF2B5EF4-FFF2-40B4-BE49-F238E27FC236}">
                <a16:creationId xmlns:a16="http://schemas.microsoft.com/office/drawing/2014/main" id="{CCB84CB1-2B51-4C17-8E6E-90F944AAB489}"/>
              </a:ext>
            </a:extLst>
          </p:cNvPr>
          <p:cNvSpPr/>
          <p:nvPr/>
        </p:nvSpPr>
        <p:spPr bwMode="gray">
          <a:xfrm>
            <a:off x="9120068" y="4311232"/>
            <a:ext cx="1341791" cy="527571"/>
          </a:xfrm>
          <a:prstGeom prst="wedgeRectCallout">
            <a:avLst>
              <a:gd name="adj1" fmla="val 64727"/>
              <a:gd name="adj2" fmla="val 47372"/>
            </a:avLst>
          </a:prstGeom>
          <a:solidFill>
            <a:schemeClr val="tx2">
              <a:lumMod val="9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Current investment is aligned with the </a:t>
            </a:r>
            <a:r>
              <a:rPr lang="en-US" sz="900" b="1">
                <a:solidFill>
                  <a:schemeClr val="tx1"/>
                </a:solidFill>
                <a:latin typeface="Arial"/>
                <a:cs typeface="Arial"/>
              </a:rPr>
              <a:t>Shell</a:t>
            </a:r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900" b="1">
                <a:solidFill>
                  <a:schemeClr val="tx1"/>
                </a:solidFill>
                <a:latin typeface="Arial"/>
                <a:cs typeface="Arial"/>
              </a:rPr>
              <a:t>Archipelagos </a:t>
            </a:r>
            <a:r>
              <a:rPr lang="en-US" sz="900">
                <a:solidFill>
                  <a:schemeClr val="tx1"/>
                </a:solidFill>
                <a:latin typeface="Arial"/>
                <a:cs typeface="Arial"/>
              </a:rPr>
              <a:t>scenario</a:t>
            </a:r>
          </a:p>
        </p:txBody>
      </p:sp>
      <p:sp>
        <p:nvSpPr>
          <p:cNvPr id="142" name="btfpCallout806132">
            <a:extLst>
              <a:ext uri="{FF2B5EF4-FFF2-40B4-BE49-F238E27FC236}">
                <a16:creationId xmlns:a16="http://schemas.microsoft.com/office/drawing/2014/main" id="{CCB84CB1-2B51-4C17-8E6E-90F944AAB489}"/>
              </a:ext>
            </a:extLst>
          </p:cNvPr>
          <p:cNvSpPr/>
          <p:nvPr/>
        </p:nvSpPr>
        <p:spPr bwMode="gray">
          <a:xfrm>
            <a:off x="9174163" y="3157340"/>
            <a:ext cx="1383423" cy="533480"/>
          </a:xfrm>
          <a:prstGeom prst="wedgeRectCallout">
            <a:avLst>
              <a:gd name="adj1" fmla="val 63398"/>
              <a:gd name="adj2" fmla="val -18108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900" b="1">
                <a:solidFill>
                  <a:schemeClr val="bg1"/>
                </a:solidFill>
                <a:latin typeface="Arial"/>
                <a:cs typeface="Arial"/>
              </a:rPr>
              <a:t>IEA Net Zero by 2050 </a:t>
            </a:r>
            <a:r>
              <a:rPr lang="en-US" sz="900">
                <a:solidFill>
                  <a:schemeClr val="bg1"/>
                </a:solidFill>
                <a:latin typeface="Arial"/>
                <a:cs typeface="Arial"/>
              </a:rPr>
              <a:t>requires a rapid increase</a:t>
            </a:r>
            <a:br>
              <a:rPr lang="en-US" sz="90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900">
                <a:solidFill>
                  <a:schemeClr val="bg1"/>
                </a:solidFill>
                <a:latin typeface="Arial"/>
                <a:cs typeface="Arial"/>
              </a:rPr>
              <a:t>in early investments</a:t>
            </a:r>
          </a:p>
        </p:txBody>
      </p:sp>
      <p:grpSp>
        <p:nvGrpSpPr>
          <p:cNvPr id="202" name="btfpColumnHeaderBox399874">
            <a:extLst>
              <a:ext uri="{FF2B5EF4-FFF2-40B4-BE49-F238E27FC236}">
                <a16:creationId xmlns:a16="http://schemas.microsoft.com/office/drawing/2014/main" id="{B71C405F-0679-1833-7BC4-100B3C1849F7}"/>
              </a:ext>
            </a:extLst>
          </p:cNvPr>
          <p:cNvGrpSpPr/>
          <p:nvPr>
            <p:custDataLst>
              <p:tags r:id="rId96"/>
            </p:custDataLst>
          </p:nvPr>
        </p:nvGrpSpPr>
        <p:grpSpPr>
          <a:xfrm>
            <a:off x="329182" y="1403981"/>
            <a:ext cx="7534658" cy="515940"/>
            <a:chOff x="8951913" y="1344678"/>
            <a:chExt cx="1758205" cy="538527"/>
          </a:xfrm>
        </p:grpSpPr>
        <p:sp>
          <p:nvSpPr>
            <p:cNvPr id="204" name="btfpColumnHeaderBoxText399874">
              <a:extLst>
                <a:ext uri="{FF2B5EF4-FFF2-40B4-BE49-F238E27FC236}">
                  <a16:creationId xmlns:a16="http://schemas.microsoft.com/office/drawing/2014/main" id="{EE15FBA2-BBEE-FF4C-1A66-64A5FFF5013F}"/>
                </a:ext>
              </a:extLst>
            </p:cNvPr>
            <p:cNvSpPr txBox="1"/>
            <p:nvPr/>
          </p:nvSpPr>
          <p:spPr bwMode="gray">
            <a:xfrm>
              <a:off x="8951914" y="1344678"/>
              <a:ext cx="1758204" cy="5257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defTabSz="711200">
                <a:defRPr/>
              </a:pPr>
              <a:r>
                <a:rPr lang="en-US" sz="1400" b="1">
                  <a:solidFill>
                    <a:srgbClr val="000000"/>
                  </a:solidFill>
                </a:rPr>
                <a:t>Even the least-ambitious Shell scenario reaches near-zero emissions by 2100, but speed is essential to avoid the worst climate impacts and runaway economic costs</a:t>
              </a:r>
              <a:endParaRPr lang="en-US" sz="1400" b="1" i="1" baseline="-25000">
                <a:solidFill>
                  <a:srgbClr val="000000"/>
                </a:solidFill>
                <a:cs typeface="Arial"/>
              </a:endParaRPr>
            </a:p>
          </p:txBody>
        </p:sp>
        <p:cxnSp>
          <p:nvCxnSpPr>
            <p:cNvPr id="205" name="btfpColumnHeaderBoxLine399874">
              <a:extLst>
                <a:ext uri="{FF2B5EF4-FFF2-40B4-BE49-F238E27FC236}">
                  <a16:creationId xmlns:a16="http://schemas.microsoft.com/office/drawing/2014/main" id="{A2E93F10-F875-1D04-7A59-0BB986B40B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951913" y="1869044"/>
              <a:ext cx="1746227" cy="14161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6" name="btfpColumnHeaderBox399874">
            <a:extLst>
              <a:ext uri="{FF2B5EF4-FFF2-40B4-BE49-F238E27FC236}">
                <a16:creationId xmlns:a16="http://schemas.microsoft.com/office/drawing/2014/main" id="{B71C405F-0679-1833-7BC4-100B3C1849F7}"/>
              </a:ext>
            </a:extLst>
          </p:cNvPr>
          <p:cNvGrpSpPr/>
          <p:nvPr>
            <p:custDataLst>
              <p:tags r:id="rId97"/>
            </p:custDataLst>
          </p:nvPr>
        </p:nvGrpSpPr>
        <p:grpSpPr>
          <a:xfrm>
            <a:off x="8095487" y="1410330"/>
            <a:ext cx="3937531" cy="503663"/>
            <a:chOff x="8951913" y="1344677"/>
            <a:chExt cx="1779238" cy="525713"/>
          </a:xfrm>
        </p:grpSpPr>
        <p:sp>
          <p:nvSpPr>
            <p:cNvPr id="207" name="btfpColumnHeaderBoxText399874">
              <a:extLst>
                <a:ext uri="{FF2B5EF4-FFF2-40B4-BE49-F238E27FC236}">
                  <a16:creationId xmlns:a16="http://schemas.microsoft.com/office/drawing/2014/main" id="{EE15FBA2-BBEE-FF4C-1A66-64A5FFF5013F}"/>
                </a:ext>
              </a:extLst>
            </p:cNvPr>
            <p:cNvSpPr txBox="1"/>
            <p:nvPr/>
          </p:nvSpPr>
          <p:spPr bwMode="gray">
            <a:xfrm>
              <a:off x="8951914" y="1344677"/>
              <a:ext cx="1779237" cy="5257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defTabSz="711200">
                <a:defRPr/>
              </a:pPr>
              <a:r>
                <a:rPr lang="en-US" sz="1400" b="1">
                  <a:solidFill>
                    <a:srgbClr val="000000"/>
                  </a:solidFill>
                </a:rPr>
                <a:t>Low-carbon investment has risen rapidly recently, though ~2.5-3.5x gap remains</a:t>
              </a:r>
            </a:p>
          </p:txBody>
        </p:sp>
        <p:cxnSp>
          <p:nvCxnSpPr>
            <p:cNvPr id="208" name="btfpColumnHeaderBoxLine399874">
              <a:extLst>
                <a:ext uri="{FF2B5EF4-FFF2-40B4-BE49-F238E27FC236}">
                  <a16:creationId xmlns:a16="http://schemas.microsoft.com/office/drawing/2014/main" id="{A2E93F10-F875-1D04-7A59-0BB986B40BF5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951913" y="1867961"/>
              <a:ext cx="1684310" cy="1086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8" descr="A red and orange gradient&#10;&#10;AI-generated content may be incorrect.">
            <a:extLst>
              <a:ext uri="{FF2B5EF4-FFF2-40B4-BE49-F238E27FC236}">
                <a16:creationId xmlns:a16="http://schemas.microsoft.com/office/drawing/2014/main" id="{083B8178-FF21-7D8A-5AB0-293C41FFCF96}"/>
              </a:ext>
            </a:extLst>
          </p:cNvPr>
          <p:cNvPicPr>
            <a:picLocks noChangeAspect="1"/>
          </p:cNvPicPr>
          <p:nvPr/>
        </p:nvPicPr>
        <p:blipFill>
          <a:blip r:embed="rId114"/>
          <a:stretch>
            <a:fillRect/>
          </a:stretch>
        </p:blipFill>
        <p:spPr>
          <a:xfrm>
            <a:off x="7099655" y="3571875"/>
            <a:ext cx="676275" cy="1666875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9ECA66ED-EE3E-63E9-3FCE-FC760C29E3D3}"/>
              </a:ext>
            </a:extLst>
          </p:cNvPr>
          <p:cNvSpPr/>
          <p:nvPr/>
        </p:nvSpPr>
        <p:spPr bwMode="gray">
          <a:xfrm>
            <a:off x="7127876" y="4785249"/>
            <a:ext cx="633747" cy="43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chemeClr val="bg1"/>
                </a:solidFill>
              </a:rPr>
              <a:t>~3-5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F027C9A-C01B-B0FC-B462-E638688E22AC}"/>
              </a:ext>
            </a:extLst>
          </p:cNvPr>
          <p:cNvSpPr/>
          <p:nvPr/>
        </p:nvSpPr>
        <p:spPr bwMode="gray">
          <a:xfrm>
            <a:off x="7127876" y="4157727"/>
            <a:ext cx="633747" cy="43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chemeClr val="bg1"/>
                </a:solidFill>
              </a:rPr>
              <a:t>~15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8309AB6-0BF6-2D85-A419-3024771D004D}"/>
              </a:ext>
            </a:extLst>
          </p:cNvPr>
          <p:cNvSpPr/>
          <p:nvPr/>
        </p:nvSpPr>
        <p:spPr bwMode="gray">
          <a:xfrm>
            <a:off x="7127876" y="3530206"/>
            <a:ext cx="633747" cy="43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chemeClr val="bg1"/>
                </a:solidFill>
              </a:rPr>
              <a:t>!?</a:t>
            </a:r>
            <a:r>
              <a:rPr lang="en-US" sz="1400" b="1" baseline="300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6" name="btfpCallout806132">
            <a:extLst>
              <a:ext uri="{FF2B5EF4-FFF2-40B4-BE49-F238E27FC236}">
                <a16:creationId xmlns:a16="http://schemas.microsoft.com/office/drawing/2014/main" id="{AE0296B5-10AA-8426-6A2A-62112003A54A}"/>
              </a:ext>
            </a:extLst>
          </p:cNvPr>
          <p:cNvSpPr/>
          <p:nvPr/>
        </p:nvSpPr>
        <p:spPr bwMode="gray">
          <a:xfrm>
            <a:off x="3105665" y="3701632"/>
            <a:ext cx="1341791" cy="527571"/>
          </a:xfrm>
          <a:prstGeom prst="wedgeRectCallout">
            <a:avLst>
              <a:gd name="adj1" fmla="val -32276"/>
              <a:gd name="adj2" fmla="val 83286"/>
            </a:avLst>
          </a:prstGeom>
          <a:solidFill>
            <a:schemeClr val="tx2">
              <a:lumMod val="9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900" b="1">
                <a:solidFill>
                  <a:schemeClr val="tx1"/>
                </a:solidFill>
                <a:cs typeface="Arial"/>
              </a:rPr>
              <a:t>IPCC SSP2-4.5 </a:t>
            </a:r>
            <a:r>
              <a:rPr lang="en-US" sz="900">
                <a:solidFill>
                  <a:schemeClr val="tx1"/>
                </a:solidFill>
                <a:cs typeface="Arial"/>
              </a:rPr>
              <a:t>and </a:t>
            </a:r>
            <a:r>
              <a:rPr lang="en-US" sz="900" b="1">
                <a:solidFill>
                  <a:schemeClr val="tx1"/>
                </a:solidFill>
                <a:cs typeface="Arial"/>
              </a:rPr>
              <a:t>Shell Archipelagos</a:t>
            </a:r>
            <a:r>
              <a:rPr lang="en-US" sz="900">
                <a:solidFill>
                  <a:schemeClr val="tx1"/>
                </a:solidFill>
                <a:cs typeface="Arial"/>
              </a:rPr>
              <a:t> most ‘probable’</a:t>
            </a:r>
            <a:r>
              <a:rPr lang="en-US" sz="900" baseline="30000">
                <a:solidFill>
                  <a:schemeClr val="tx1"/>
                </a:solidFill>
                <a:cs typeface="Arial"/>
              </a:rPr>
              <a:t>3</a:t>
            </a:r>
            <a:endParaRPr lang="en-US" sz="900">
              <a:solidFill>
                <a:schemeClr val="tx1"/>
              </a:solidFill>
              <a:cs typeface="Arial"/>
            </a:endParaRPr>
          </a:p>
        </p:txBody>
      </p:sp>
      <p:sp>
        <p:nvSpPr>
          <p:cNvPr id="567" name="btfpCallout806132">
            <a:extLst>
              <a:ext uri="{FF2B5EF4-FFF2-40B4-BE49-F238E27FC236}">
                <a16:creationId xmlns:a16="http://schemas.microsoft.com/office/drawing/2014/main" id="{D010D8F5-7412-6365-7B08-D0DE07F9AF44}"/>
              </a:ext>
            </a:extLst>
          </p:cNvPr>
          <p:cNvSpPr/>
          <p:nvPr/>
        </p:nvSpPr>
        <p:spPr bwMode="gray">
          <a:xfrm>
            <a:off x="3105665" y="3701632"/>
            <a:ext cx="1341791" cy="527571"/>
          </a:xfrm>
          <a:prstGeom prst="wedgeRectCallout">
            <a:avLst>
              <a:gd name="adj1" fmla="val 18067"/>
              <a:gd name="adj2" fmla="val 186342"/>
            </a:avLst>
          </a:prstGeom>
          <a:solidFill>
            <a:schemeClr val="tx2">
              <a:lumMod val="9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900" b="1">
                <a:solidFill>
                  <a:schemeClr val="tx1"/>
                </a:solidFill>
                <a:cs typeface="Arial"/>
              </a:rPr>
              <a:t>IPCC SSP2-4.5 </a:t>
            </a:r>
            <a:r>
              <a:rPr lang="en-US" sz="900">
                <a:solidFill>
                  <a:schemeClr val="tx1"/>
                </a:solidFill>
                <a:cs typeface="Arial"/>
              </a:rPr>
              <a:t>and </a:t>
            </a:r>
            <a:r>
              <a:rPr lang="en-US" sz="900" b="1">
                <a:solidFill>
                  <a:schemeClr val="tx1"/>
                </a:solidFill>
                <a:cs typeface="Arial"/>
              </a:rPr>
              <a:t>Shell Archipelagos</a:t>
            </a:r>
            <a:r>
              <a:rPr lang="en-US" sz="900">
                <a:solidFill>
                  <a:schemeClr val="tx1"/>
                </a:solidFill>
                <a:cs typeface="Arial"/>
              </a:rPr>
              <a:t> most “probable”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6020406" y="4081463"/>
            <a:ext cx="209550" cy="163531"/>
          </a:xfrm>
          <a:prstGeom prst="rect">
            <a:avLst/>
          </a:prstGeom>
          <a:solidFill>
            <a:srgbClr val="EA60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>
                <a:solidFill>
                  <a:schemeClr val="bg1"/>
                </a:solidFill>
              </a:rPr>
              <a:t>2.8</a:t>
            </a:r>
            <a:endParaRPr lang="en-US" sz="80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0870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3FDCF6B-BC6F-8EE8-3097-60AC025A66E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DCF6B-BC6F-8EE8-3097-60AC025A6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3272C7-5308-3981-1D49-10EF6B9F7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>
            <a:noAutofit/>
          </a:bodyPr>
          <a:lstStyle/>
          <a:p>
            <a:r>
              <a:rPr lang="en-US">
                <a:cs typeface="Arial"/>
              </a:rPr>
              <a:t>Each fractional degree of additional warming multiplies ecological and human climate-related damages across scenarios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9" name="btfpNotesBox962619">
            <a:extLst>
              <a:ext uri="{FF2B5EF4-FFF2-40B4-BE49-F238E27FC236}">
                <a16:creationId xmlns:a16="http://schemas.microsoft.com/office/drawing/2014/main" id="{4DC91E4B-946C-D65C-56EF-05636B8592FF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29184" y="6013370"/>
            <a:ext cx="9011645" cy="73866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lvl="0">
              <a:defRPr/>
            </a:pPr>
            <a:r>
              <a:rPr lang="en-US" sz="800" baseline="30000" dirty="0">
                <a:solidFill>
                  <a:srgbClr val="000000"/>
                </a:solidFill>
              </a:rPr>
              <a:t>1 </a:t>
            </a:r>
            <a:r>
              <a:rPr lang="en-US" sz="800" dirty="0">
                <a:solidFill>
                  <a:srgbClr val="000000"/>
                </a:solidFill>
              </a:rPr>
              <a:t>Average global warming above 1850-1900 average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Sources: Global warming: IEA,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World Energy Outlook</a:t>
            </a:r>
            <a:r>
              <a:rPr lang="en-US" sz="800" dirty="0">
                <a:solidFill>
                  <a:srgbClr val="000000"/>
                </a:solidFill>
              </a:rPr>
              <a:t> (2024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Sea-level rise extrapolated from IPCC SSP1, SSP2, and SSP3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PCC Sixth Assessment Report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(2021); </a:t>
            </a:r>
            <a:r>
              <a:rPr lang="en-US" sz="800" dirty="0">
                <a:solidFill>
                  <a:srgbClr val="000000"/>
                </a:solidFill>
              </a:rPr>
              <a:t>Estimated GDP losses based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on approximations by NGFS: </a:t>
            </a:r>
            <a:r>
              <a:rPr lang="en-US" sz="800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GFS long-term scenarios for central banks and supervisors</a:t>
            </a:r>
            <a:r>
              <a:rPr lang="en-US" sz="800" dirty="0"/>
              <a:t> (2018)</a:t>
            </a:r>
            <a:r>
              <a:rPr lang="en-US" sz="800" dirty="0">
                <a:solidFill>
                  <a:srgbClr val="000000"/>
                </a:solidFill>
              </a:rPr>
              <a:t>; Pop. exposed to heat stress: IPCC, </a:t>
            </a:r>
            <a:r>
              <a:rPr lang="en-US" sz="800" dirty="0">
                <a:solidFill>
                  <a:srgbClr val="000000"/>
                </a:solidFill>
                <a:ea typeface="+mn-lt"/>
                <a:cs typeface="+mn-lt"/>
                <a:hlinkClick r:id="rId11"/>
              </a:rPr>
              <a:t>Climate Change 2022: Impacts, Adaptation and Vulnerability</a:t>
            </a:r>
            <a:r>
              <a:rPr lang="en-US" sz="800" dirty="0">
                <a:solidFill>
                  <a:srgbClr val="000000"/>
                </a:solidFill>
                <a:ea typeface="+mn-lt"/>
                <a:cs typeface="+mn-lt"/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2); Coral reef loss: IPCC, </a:t>
            </a:r>
            <a:r>
              <a:rPr lang="en-US" sz="800" dirty="0"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mmary for Policymakers — Global Warming of 1.5 ºC</a:t>
            </a:r>
            <a:r>
              <a:rPr lang="en-US" sz="800" dirty="0"/>
              <a:t> (2018); Arctic ice loss extrapolated from IPCC scenarios: </a:t>
            </a:r>
            <a:r>
              <a:rPr lang="en-US" sz="800" dirty="0"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mmary for Policymakers</a:t>
            </a:r>
            <a:r>
              <a:rPr lang="en-US" sz="800" dirty="0"/>
              <a:t> (2018); People affected </a:t>
            </a:r>
            <a:br>
              <a:rPr lang="en-US" sz="800" dirty="0"/>
            </a:br>
            <a:r>
              <a:rPr lang="en-US" sz="800" dirty="0"/>
              <a:t>by floods: IPCC, </a:t>
            </a:r>
            <a:r>
              <a:rPr lang="en-US" sz="800" dirty="0">
                <a:hlinkClick r:id="rId13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mate Change 2022</a:t>
            </a:r>
            <a:r>
              <a:rPr lang="en-US" sz="800" dirty="0"/>
              <a:t> (2022); Increase in people in hunger based on IPCC scenarios 1, 2, and 3: IPCC, </a:t>
            </a:r>
            <a:r>
              <a:rPr lang="en-US" sz="800" dirty="0"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ecial Report on Climate Change and Land: Food Security</a:t>
            </a:r>
            <a:r>
              <a:rPr lang="en-US" sz="800" dirty="0"/>
              <a:t> (2019). </a:t>
            </a:r>
            <a:endParaRPr lang="en-US" sz="800" dirty="0">
              <a:latin typeface="Arial"/>
            </a:endParaRPr>
          </a:p>
          <a:p>
            <a:pPr>
              <a:defRPr/>
            </a:pPr>
            <a:r>
              <a:rPr lang="en-US" sz="800" dirty="0">
                <a:solidFill>
                  <a:srgbClr val="000000"/>
                </a:solidFill>
              </a:rPr>
              <a:t>Credit: Anika Behrndt, Isabel Hoyos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Hya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Ryung Kim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15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16"/>
              </a:rPr>
              <a:t>Share 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Wagner et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al.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“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Probable Climat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” (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27 January 2026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).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endParaRPr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A6D6A7-20F6-1073-DE6C-085181E46518}"/>
              </a:ext>
            </a:extLst>
          </p:cNvPr>
          <p:cNvSpPr/>
          <p:nvPr/>
        </p:nvSpPr>
        <p:spPr bwMode="gray">
          <a:xfrm>
            <a:off x="2542948" y="2996774"/>
            <a:ext cx="9460427" cy="2933700"/>
          </a:xfrm>
          <a:prstGeom prst="rect">
            <a:avLst/>
          </a:prstGeom>
          <a:gradFill flip="none" rotWithShape="1">
            <a:gsLst>
              <a:gs pos="7000">
                <a:srgbClr val="C30C3E"/>
              </a:gs>
              <a:gs pos="100000">
                <a:srgbClr val="FFC000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DD75073-323C-F39A-0D04-661742F86553}"/>
              </a:ext>
            </a:extLst>
          </p:cNvPr>
          <p:cNvSpPr/>
          <p:nvPr/>
        </p:nvSpPr>
        <p:spPr bwMode="gray">
          <a:xfrm>
            <a:off x="424544" y="2990703"/>
            <a:ext cx="2029326" cy="925605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tx1"/>
                </a:solidFill>
              </a:rPr>
              <a:t>IEA Stated Polici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3DA36F3-C5E0-DFB8-71AD-8E3B93A1C8F0}"/>
              </a:ext>
            </a:extLst>
          </p:cNvPr>
          <p:cNvSpPr/>
          <p:nvPr/>
        </p:nvSpPr>
        <p:spPr bwMode="gray">
          <a:xfrm>
            <a:off x="424544" y="3992989"/>
            <a:ext cx="2029326" cy="925606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tx1"/>
                </a:solidFill>
              </a:rPr>
              <a:t>IEA Announced Pledg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6056DA9-F2A5-BCFC-BD4C-D44E975F1EE2}"/>
              </a:ext>
            </a:extLst>
          </p:cNvPr>
          <p:cNvSpPr/>
          <p:nvPr/>
        </p:nvSpPr>
        <p:spPr bwMode="gray">
          <a:xfrm>
            <a:off x="424544" y="5000266"/>
            <a:ext cx="2029326" cy="927289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tx1"/>
                </a:solidFill>
              </a:rPr>
              <a:t>IEA Net Zero by 2050</a:t>
            </a:r>
          </a:p>
        </p:txBody>
      </p:sp>
      <p:grpSp>
        <p:nvGrpSpPr>
          <p:cNvPr id="73" name="Group 72"/>
          <p:cNvGrpSpPr/>
          <p:nvPr/>
        </p:nvGrpSpPr>
        <p:grpSpPr>
          <a:xfrm>
            <a:off x="3590699" y="2158140"/>
            <a:ext cx="990601" cy="3767732"/>
            <a:chOff x="3590699" y="2421987"/>
            <a:chExt cx="990601" cy="376773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8F95EAE-C161-1654-55C8-F81ECCADEC81}"/>
                </a:ext>
              </a:extLst>
            </p:cNvPr>
            <p:cNvSpPr/>
            <p:nvPr/>
          </p:nvSpPr>
          <p:spPr bwMode="gray">
            <a:xfrm>
              <a:off x="3590699" y="2421987"/>
              <a:ext cx="990601" cy="7506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chemeClr val="tx1"/>
                  </a:solidFill>
                </a:rPr>
                <a:t>Global mean sea-level ris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F823424-643D-261D-28D3-DAD0D88D5E8A}"/>
                </a:ext>
              </a:extLst>
            </p:cNvPr>
            <p:cNvSpPr/>
            <p:nvPr/>
          </p:nvSpPr>
          <p:spPr bwMode="gray">
            <a:xfrm>
              <a:off x="3590699" y="4258432"/>
              <a:ext cx="990601" cy="92560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40-69 cm  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9F33B4E-917D-A94B-329D-3EC85E803F0C}"/>
                </a:ext>
              </a:extLst>
            </p:cNvPr>
            <p:cNvSpPr/>
            <p:nvPr/>
          </p:nvSpPr>
          <p:spPr bwMode="gray">
            <a:xfrm>
              <a:off x="3590699" y="3252750"/>
              <a:ext cx="990601" cy="92560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50-81 cm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5F10B590-7619-8431-5E04-ACF9639704BE}"/>
                </a:ext>
              </a:extLst>
            </p:cNvPr>
            <p:cNvSpPr/>
            <p:nvPr/>
          </p:nvSpPr>
          <p:spPr bwMode="gray">
            <a:xfrm>
              <a:off x="3590699" y="5264114"/>
              <a:ext cx="990601" cy="92560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34-59 cm</a:t>
              </a: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2529064" y="2158140"/>
            <a:ext cx="990600" cy="3767731"/>
            <a:chOff x="2529064" y="2421987"/>
            <a:chExt cx="990600" cy="376773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5DCB060-CA8E-C39C-D554-C250290A9E3C}"/>
                </a:ext>
              </a:extLst>
            </p:cNvPr>
            <p:cNvSpPr/>
            <p:nvPr/>
          </p:nvSpPr>
          <p:spPr bwMode="gray">
            <a:xfrm>
              <a:off x="2529064" y="2421987"/>
              <a:ext cx="990600" cy="7506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chemeClr val="tx1"/>
                  </a:solidFill>
                </a:rPr>
                <a:t>Global warming</a:t>
              </a:r>
              <a:r>
                <a:rPr lang="en-US" sz="1200" b="1" baseline="30000">
                  <a:solidFill>
                    <a:schemeClr val="tx1"/>
                  </a:solidFill>
                </a:rPr>
                <a:t>1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DD5B2FD-15D4-1AF2-E9C4-9F830A247B6D}"/>
                </a:ext>
              </a:extLst>
            </p:cNvPr>
            <p:cNvSpPr/>
            <p:nvPr/>
          </p:nvSpPr>
          <p:spPr bwMode="gray">
            <a:xfrm>
              <a:off x="2529064" y="4258432"/>
              <a:ext cx="983855" cy="925605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2.3°C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D088152-A01F-9EDD-FFC7-F621F61522CA}"/>
                </a:ext>
              </a:extLst>
            </p:cNvPr>
            <p:cNvSpPr/>
            <p:nvPr/>
          </p:nvSpPr>
          <p:spPr bwMode="gray">
            <a:xfrm>
              <a:off x="2529064" y="3252750"/>
              <a:ext cx="983855" cy="925605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2.7°C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B7754CE-699A-7B1D-94E7-F3EC4FF95F7E}"/>
                </a:ext>
              </a:extLst>
            </p:cNvPr>
            <p:cNvSpPr/>
            <p:nvPr/>
          </p:nvSpPr>
          <p:spPr bwMode="gray">
            <a:xfrm>
              <a:off x="2529064" y="5264114"/>
              <a:ext cx="983855" cy="92560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1.5°C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E66C5BA2-54CD-3CAC-5DEA-0CB82D1F427F}"/>
              </a:ext>
            </a:extLst>
          </p:cNvPr>
          <p:cNvSpPr/>
          <p:nvPr/>
        </p:nvSpPr>
        <p:spPr bwMode="gray">
          <a:xfrm>
            <a:off x="2530071" y="1795465"/>
            <a:ext cx="2051229" cy="2959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chemeClr val="tx1"/>
                </a:solidFill>
              </a:rPr>
              <a:t>Indicator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832F3C-B259-F610-4426-8FFF52ADD83A}"/>
              </a:ext>
            </a:extLst>
          </p:cNvPr>
          <p:cNvCxnSpPr/>
          <p:nvPr/>
        </p:nvCxnSpPr>
        <p:spPr bwMode="gray">
          <a:xfrm>
            <a:off x="3552715" y="2180174"/>
            <a:ext cx="0" cy="3756542"/>
          </a:xfrm>
          <a:prstGeom prst="line">
            <a:avLst/>
          </a:prstGeom>
          <a:ln w="79375" cap="flat">
            <a:solidFill>
              <a:schemeClr val="bg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F724AA-3FBF-0CD1-6299-7AD56444DE80}"/>
              </a:ext>
            </a:extLst>
          </p:cNvPr>
          <p:cNvCxnSpPr>
            <a:cxnSpLocks/>
          </p:cNvCxnSpPr>
          <p:nvPr/>
        </p:nvCxnSpPr>
        <p:spPr bwMode="gray">
          <a:xfrm>
            <a:off x="4663200" y="1856425"/>
            <a:ext cx="0" cy="4268648"/>
          </a:xfrm>
          <a:prstGeom prst="line">
            <a:avLst/>
          </a:prstGeom>
          <a:ln w="187325" cap="flat">
            <a:solidFill>
              <a:schemeClr val="bg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36F97EE-D92B-56F9-BA9F-87FA47A71D74}"/>
              </a:ext>
            </a:extLst>
          </p:cNvPr>
          <p:cNvCxnSpPr>
            <a:cxnSpLocks/>
          </p:cNvCxnSpPr>
          <p:nvPr/>
        </p:nvCxnSpPr>
        <p:spPr bwMode="gray">
          <a:xfrm>
            <a:off x="2475904" y="3948921"/>
            <a:ext cx="9580505" cy="1949"/>
          </a:xfrm>
          <a:prstGeom prst="line">
            <a:avLst/>
          </a:prstGeom>
          <a:ln w="79375" cap="flat">
            <a:solidFill>
              <a:schemeClr val="bg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FD714EA-D58B-4634-903D-1402B5BC1CF2}"/>
              </a:ext>
            </a:extLst>
          </p:cNvPr>
          <p:cNvCxnSpPr>
            <a:cxnSpLocks/>
          </p:cNvCxnSpPr>
          <p:nvPr/>
        </p:nvCxnSpPr>
        <p:spPr bwMode="gray">
          <a:xfrm>
            <a:off x="2482053" y="4940629"/>
            <a:ext cx="9551451" cy="0"/>
          </a:xfrm>
          <a:prstGeom prst="line">
            <a:avLst/>
          </a:prstGeom>
          <a:ln w="79375" cap="flat">
            <a:solidFill>
              <a:schemeClr val="bg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2782E0A-9809-A9D4-BB49-3D252A23E163}"/>
              </a:ext>
            </a:extLst>
          </p:cNvPr>
          <p:cNvGrpSpPr/>
          <p:nvPr/>
        </p:nvGrpSpPr>
        <p:grpSpPr>
          <a:xfrm>
            <a:off x="5697442" y="1789312"/>
            <a:ext cx="6358967" cy="4274801"/>
            <a:chOff x="4721727" y="1963805"/>
            <a:chExt cx="6358967" cy="4274801"/>
          </a:xfrm>
        </p:grpSpPr>
        <p:grpSp>
          <p:nvGrpSpPr>
            <p:cNvPr id="65" name="Group 64"/>
            <p:cNvGrpSpPr/>
            <p:nvPr/>
          </p:nvGrpSpPr>
          <p:grpSpPr>
            <a:xfrm>
              <a:off x="4721728" y="2329932"/>
              <a:ext cx="1374274" cy="3767732"/>
              <a:chOff x="4721728" y="2421987"/>
              <a:chExt cx="1374274" cy="3767732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75B6EBC-6984-C9F1-7890-8E1363DE051F}"/>
                  </a:ext>
                </a:extLst>
              </p:cNvPr>
              <p:cNvSpPr/>
              <p:nvPr/>
            </p:nvSpPr>
            <p:spPr bwMode="gray">
              <a:xfrm>
                <a:off x="4721728" y="2421987"/>
                <a:ext cx="1374274" cy="74417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tx1"/>
                    </a:solidFill>
                  </a:rPr>
                  <a:t>Population exposed to drought and heat stress</a:t>
                </a:r>
                <a:endParaRPr lang="en-US" sz="1200" b="1" baseline="30000">
                  <a:solidFill>
                    <a:schemeClr val="tx1"/>
                  </a:solidFill>
                  <a:cs typeface="Arial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CB87A57C-B224-A5CD-C5E1-6DED428B92F9}"/>
                  </a:ext>
                </a:extLst>
              </p:cNvPr>
              <p:cNvSpPr/>
              <p:nvPr/>
            </p:nvSpPr>
            <p:spPr bwMode="gray">
              <a:xfrm>
                <a:off x="4721728" y="3254112"/>
                <a:ext cx="1374274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~1.3B</a:t>
                </a:r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9768D17-125E-3BCE-23C2-DD113DFD85C4}"/>
                  </a:ext>
                </a:extLst>
              </p:cNvPr>
              <p:cNvSpPr/>
              <p:nvPr/>
            </p:nvSpPr>
            <p:spPr bwMode="gray">
              <a:xfrm>
                <a:off x="4721728" y="4259113"/>
                <a:ext cx="1374274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  <a:cs typeface="Arial"/>
                  </a:rPr>
                  <a:t>~1.15B</a:t>
                </a:r>
                <a:endParaRPr lang="en-US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93A47A6F-A8A9-2A2E-4F93-8A69316E69C5}"/>
                  </a:ext>
                </a:extLst>
              </p:cNvPr>
              <p:cNvSpPr/>
              <p:nvPr/>
            </p:nvSpPr>
            <p:spPr bwMode="gray">
              <a:xfrm>
                <a:off x="4721728" y="5264114"/>
                <a:ext cx="1374274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~1B</a:t>
                </a:r>
              </a:p>
            </p:txBody>
          </p:sp>
        </p:grp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FF6C107-FB4A-D1C5-651C-D80D5430885B}"/>
                </a:ext>
              </a:extLst>
            </p:cNvPr>
            <p:cNvSpPr/>
            <p:nvPr/>
          </p:nvSpPr>
          <p:spPr bwMode="gray">
            <a:xfrm>
              <a:off x="4721727" y="1963805"/>
              <a:ext cx="6305934" cy="299373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400" b="1">
                  <a:solidFill>
                    <a:schemeClr val="tx1"/>
                  </a:solidFill>
                </a:rPr>
                <a:t>Implications</a:t>
              </a: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6176497" y="2329932"/>
              <a:ext cx="910102" cy="3767732"/>
              <a:chOff x="6177941" y="2421987"/>
              <a:chExt cx="910102" cy="3767732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EC0F3586-0A67-ED05-A2AF-B1E60A4B6E3C}"/>
                  </a:ext>
                </a:extLst>
              </p:cNvPr>
              <p:cNvSpPr/>
              <p:nvPr/>
            </p:nvSpPr>
            <p:spPr bwMode="gray">
              <a:xfrm>
                <a:off x="6177941" y="2421987"/>
                <a:ext cx="910102" cy="7527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tx1"/>
                    </a:solidFill>
                  </a:rPr>
                  <a:t>Coral reef loss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BC53A51-9F83-9EB6-FA6C-F526183E1D9A}"/>
                  </a:ext>
                </a:extLst>
              </p:cNvPr>
              <p:cNvSpPr/>
              <p:nvPr/>
            </p:nvSpPr>
            <p:spPr bwMode="gray">
              <a:xfrm>
                <a:off x="6177942" y="3254111"/>
                <a:ext cx="910098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Near total loss</a:t>
                </a: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D5AB6EE7-1DCB-1EDD-C2B0-B4F49230A339}"/>
                  </a:ext>
                </a:extLst>
              </p:cNvPr>
              <p:cNvSpPr/>
              <p:nvPr/>
            </p:nvSpPr>
            <p:spPr bwMode="gray">
              <a:xfrm>
                <a:off x="6177942" y="4259112"/>
                <a:ext cx="910098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&gt;99%</a:t>
                </a: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D8738932-D68D-ED28-5106-3D3FFCA746EA}"/>
                  </a:ext>
                </a:extLst>
              </p:cNvPr>
              <p:cNvSpPr/>
              <p:nvPr/>
            </p:nvSpPr>
            <p:spPr bwMode="gray">
              <a:xfrm>
                <a:off x="6177942" y="5264114"/>
                <a:ext cx="910098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~70-90%</a:t>
                </a:r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7140361" y="2329932"/>
              <a:ext cx="1368000" cy="3767732"/>
              <a:chOff x="7630324" y="2421987"/>
              <a:chExt cx="1368000" cy="3767732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9F10F328-CC95-9FB6-D470-8959F2427DFF}"/>
                  </a:ext>
                </a:extLst>
              </p:cNvPr>
              <p:cNvSpPr/>
              <p:nvPr/>
            </p:nvSpPr>
            <p:spPr bwMode="gray">
              <a:xfrm>
                <a:off x="7630324" y="2421987"/>
                <a:ext cx="1368000" cy="7527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tx1"/>
                    </a:solidFill>
                  </a:rPr>
                  <a:t>Arctic ice loss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D35E6E1-B393-A359-46CB-0984B0BCCA69}"/>
                  </a:ext>
                </a:extLst>
              </p:cNvPr>
              <p:cNvSpPr/>
              <p:nvPr/>
            </p:nvSpPr>
            <p:spPr bwMode="gray">
              <a:xfrm>
                <a:off x="7630324" y="3254111"/>
                <a:ext cx="1368000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Likely every summer ice free before 2100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6C431873-C9BC-1FDE-9808-2CA75CE27188}"/>
                  </a:ext>
                </a:extLst>
              </p:cNvPr>
              <p:cNvSpPr/>
              <p:nvPr/>
            </p:nvSpPr>
            <p:spPr bwMode="gray">
              <a:xfrm>
                <a:off x="7630324" y="4259112"/>
                <a:ext cx="1368000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Likely summer ice free at least once before 2100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C5B253E-9735-B15D-B050-143862192B5D}"/>
                  </a:ext>
                </a:extLst>
              </p:cNvPr>
              <p:cNvSpPr/>
              <p:nvPr/>
            </p:nvSpPr>
            <p:spPr bwMode="gray">
              <a:xfrm>
                <a:off x="7630324" y="5264114"/>
                <a:ext cx="1368000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Possibly retains summer ice</a:t>
                </a:r>
              </a:p>
            </p:txBody>
          </p:sp>
        </p:grpSp>
        <p:grpSp>
          <p:nvGrpSpPr>
            <p:cNvPr id="70" name="Group 69"/>
            <p:cNvGrpSpPr/>
            <p:nvPr/>
          </p:nvGrpSpPr>
          <p:grpSpPr>
            <a:xfrm>
              <a:off x="8588856" y="2329932"/>
              <a:ext cx="1368000" cy="3767732"/>
              <a:chOff x="9082706" y="2421987"/>
              <a:chExt cx="1368000" cy="3767732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DC1162F5-980D-B3FD-A699-3E86CB53B94C}"/>
                  </a:ext>
                </a:extLst>
              </p:cNvPr>
              <p:cNvSpPr/>
              <p:nvPr/>
            </p:nvSpPr>
            <p:spPr bwMode="gray">
              <a:xfrm>
                <a:off x="9082706" y="2421987"/>
                <a:ext cx="1368000" cy="7527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tx1"/>
                    </a:solidFill>
                  </a:rPr>
                  <a:t>Increase in people affected by coastal flooding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2EF79DC9-FC11-242E-EE06-FED354831C4F}"/>
                  </a:ext>
                </a:extLst>
              </p:cNvPr>
              <p:cNvSpPr/>
              <p:nvPr/>
            </p:nvSpPr>
            <p:spPr bwMode="gray">
              <a:xfrm>
                <a:off x="9082706" y="3254111"/>
                <a:ext cx="1368000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N/A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4C56EFE3-69AF-A0B2-EDCF-08A44459E920}"/>
                  </a:ext>
                </a:extLst>
              </p:cNvPr>
              <p:cNvSpPr/>
              <p:nvPr/>
            </p:nvSpPr>
            <p:spPr bwMode="gray">
              <a:xfrm>
                <a:off x="9082706" y="4259112"/>
                <a:ext cx="1368000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30%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AE41089B-C15D-3C6E-D816-235E797C09F8}"/>
                  </a:ext>
                </a:extLst>
              </p:cNvPr>
              <p:cNvSpPr/>
              <p:nvPr/>
            </p:nvSpPr>
            <p:spPr bwMode="gray">
              <a:xfrm>
                <a:off x="9082706" y="5264114"/>
                <a:ext cx="1368000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24%</a:t>
                </a:r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10009891" y="2329932"/>
              <a:ext cx="1017774" cy="3767732"/>
              <a:chOff x="10494523" y="2421987"/>
              <a:chExt cx="1017774" cy="3767732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889075EF-F6D9-9FD2-9162-8F6F09460E34}"/>
                  </a:ext>
                </a:extLst>
              </p:cNvPr>
              <p:cNvSpPr/>
              <p:nvPr/>
            </p:nvSpPr>
            <p:spPr bwMode="gray">
              <a:xfrm>
                <a:off x="10494523" y="2421987"/>
                <a:ext cx="1017774" cy="7527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tx1"/>
                    </a:solidFill>
                  </a:rPr>
                  <a:t>Increase in people in hunger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24783E47-95C9-D1E8-411D-6392D3CD0B87}"/>
                  </a:ext>
                </a:extLst>
              </p:cNvPr>
              <p:cNvSpPr/>
              <p:nvPr/>
            </p:nvSpPr>
            <p:spPr bwMode="gray">
              <a:xfrm>
                <a:off x="10521983" y="3254111"/>
                <a:ext cx="990309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80 million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6B2391F-6F34-6709-CE4A-0EE5167F9C69}"/>
                  </a:ext>
                </a:extLst>
              </p:cNvPr>
              <p:cNvSpPr/>
              <p:nvPr/>
            </p:nvSpPr>
            <p:spPr bwMode="gray">
              <a:xfrm>
                <a:off x="10521983" y="4259112"/>
                <a:ext cx="990309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24 million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BE4B08E-F877-44BE-DFB4-E9888DB3F31A}"/>
                  </a:ext>
                </a:extLst>
              </p:cNvPr>
              <p:cNvSpPr/>
              <p:nvPr/>
            </p:nvSpPr>
            <p:spPr bwMode="gray">
              <a:xfrm>
                <a:off x="10521983" y="5264114"/>
                <a:ext cx="990309" cy="92560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1200" b="1">
                    <a:solidFill>
                      <a:schemeClr val="bg1"/>
                    </a:solidFill>
                  </a:rPr>
                  <a:t>8 million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BF5BED3-26C5-1EA6-2ABD-EF624E58B3D7}"/>
                </a:ext>
              </a:extLst>
            </p:cNvPr>
            <p:cNvCxnSpPr/>
            <p:nvPr/>
          </p:nvCxnSpPr>
          <p:spPr bwMode="gray">
            <a:xfrm>
              <a:off x="6136082" y="2482064"/>
              <a:ext cx="0" cy="3756542"/>
            </a:xfrm>
            <a:prstGeom prst="line">
              <a:avLst/>
            </a:prstGeom>
            <a:ln w="79375" cap="flat">
              <a:solidFill>
                <a:schemeClr val="bg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ABA3EC1-13E8-BC0C-FE69-213CDEA4B999}"/>
                </a:ext>
              </a:extLst>
            </p:cNvPr>
            <p:cNvCxnSpPr/>
            <p:nvPr/>
          </p:nvCxnSpPr>
          <p:spPr bwMode="gray">
            <a:xfrm>
              <a:off x="7106102" y="2341083"/>
              <a:ext cx="0" cy="3756542"/>
            </a:xfrm>
            <a:prstGeom prst="line">
              <a:avLst/>
            </a:prstGeom>
            <a:ln w="79375" cap="flat">
              <a:solidFill>
                <a:schemeClr val="bg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23C1E93-8B75-8D8D-5EE6-638F39A74886}"/>
                </a:ext>
              </a:extLst>
            </p:cNvPr>
            <p:cNvCxnSpPr/>
            <p:nvPr/>
          </p:nvCxnSpPr>
          <p:spPr bwMode="gray">
            <a:xfrm>
              <a:off x="8534851" y="2341083"/>
              <a:ext cx="0" cy="3756542"/>
            </a:xfrm>
            <a:prstGeom prst="line">
              <a:avLst/>
            </a:prstGeom>
            <a:ln w="79375" cap="flat">
              <a:solidFill>
                <a:schemeClr val="bg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14AC2E5-1C3A-4890-39D9-933CA00DEFCA}"/>
                </a:ext>
              </a:extLst>
            </p:cNvPr>
            <p:cNvCxnSpPr/>
            <p:nvPr/>
          </p:nvCxnSpPr>
          <p:spPr bwMode="gray">
            <a:xfrm>
              <a:off x="9976024" y="2352234"/>
              <a:ext cx="0" cy="3756542"/>
            </a:xfrm>
            <a:prstGeom prst="line">
              <a:avLst/>
            </a:prstGeom>
            <a:ln w="79375" cap="flat">
              <a:solidFill>
                <a:schemeClr val="bg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FA7A2F33-1159-93F2-F6A7-520AAF72991E}"/>
                </a:ext>
              </a:extLst>
            </p:cNvPr>
            <p:cNvCxnSpPr/>
            <p:nvPr/>
          </p:nvCxnSpPr>
          <p:spPr bwMode="gray">
            <a:xfrm>
              <a:off x="11080694" y="2374268"/>
              <a:ext cx="0" cy="3756542"/>
            </a:xfrm>
            <a:prstGeom prst="line">
              <a:avLst/>
            </a:prstGeom>
            <a:ln w="79375" cap="flat">
              <a:solidFill>
                <a:schemeClr val="bg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EEFA2F5-9FBF-AC37-8586-CB7E2C409586}"/>
              </a:ext>
            </a:extLst>
          </p:cNvPr>
          <p:cNvGrpSpPr/>
          <p:nvPr/>
        </p:nvGrpSpPr>
        <p:grpSpPr>
          <a:xfrm>
            <a:off x="4735053" y="2168984"/>
            <a:ext cx="850869" cy="3767732"/>
            <a:chOff x="6149748" y="2421987"/>
            <a:chExt cx="938295" cy="3767732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7998B79-0A2E-433E-49DC-986810AF48B2}"/>
                </a:ext>
              </a:extLst>
            </p:cNvPr>
            <p:cNvSpPr/>
            <p:nvPr/>
          </p:nvSpPr>
          <p:spPr bwMode="gray">
            <a:xfrm>
              <a:off x="6149748" y="2421987"/>
              <a:ext cx="938295" cy="7527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chemeClr val="tx1"/>
                  </a:solidFill>
                </a:rPr>
                <a:t>Estimated GDP loss (in US$)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F7CBF97-D915-0621-4531-738B44529BE7}"/>
                </a:ext>
              </a:extLst>
            </p:cNvPr>
            <p:cNvSpPr/>
            <p:nvPr/>
          </p:nvSpPr>
          <p:spPr bwMode="gray">
            <a:xfrm>
              <a:off x="6177942" y="3254111"/>
              <a:ext cx="910098" cy="92560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AE8294E-1751-1EE8-81A5-B40AE95E14C9}"/>
                </a:ext>
              </a:extLst>
            </p:cNvPr>
            <p:cNvSpPr/>
            <p:nvPr/>
          </p:nvSpPr>
          <p:spPr bwMode="gray">
            <a:xfrm>
              <a:off x="6177942" y="4259112"/>
              <a:ext cx="910098" cy="92560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49741CB-5015-CC3E-8BA7-97FE6C5D7DC1}"/>
                </a:ext>
              </a:extLst>
            </p:cNvPr>
            <p:cNvSpPr/>
            <p:nvPr/>
          </p:nvSpPr>
          <p:spPr bwMode="gray">
            <a:xfrm>
              <a:off x="6177942" y="5264114"/>
              <a:ext cx="910098" cy="92560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D20CD5D0-E941-9CFB-99B2-71E4FA43C36F}"/>
              </a:ext>
            </a:extLst>
          </p:cNvPr>
          <p:cNvSpPr/>
          <p:nvPr/>
        </p:nvSpPr>
        <p:spPr bwMode="gray">
          <a:xfrm>
            <a:off x="11133708" y="2979969"/>
            <a:ext cx="825300" cy="9256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12A0A4A-3EDB-55CB-D556-9306B2CF1A12}"/>
              </a:ext>
            </a:extLst>
          </p:cNvPr>
          <p:cNvSpPr/>
          <p:nvPr/>
        </p:nvSpPr>
        <p:spPr bwMode="gray">
          <a:xfrm>
            <a:off x="4760603" y="3995853"/>
            <a:ext cx="825300" cy="9256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bg1"/>
                </a:solidFill>
              </a:rPr>
              <a:t>~6-8%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570FF5D-C4D3-D40A-9565-A2532710DF74}"/>
              </a:ext>
            </a:extLst>
          </p:cNvPr>
          <p:cNvSpPr/>
          <p:nvPr/>
        </p:nvSpPr>
        <p:spPr bwMode="gray">
          <a:xfrm>
            <a:off x="4760603" y="5000855"/>
            <a:ext cx="825300" cy="9256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bg1"/>
                </a:solidFill>
              </a:rPr>
              <a:t>~3-5%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7D6F32C-48A2-8738-133A-FC425D9F7D77}"/>
              </a:ext>
            </a:extLst>
          </p:cNvPr>
          <p:cNvSpPr/>
          <p:nvPr/>
        </p:nvSpPr>
        <p:spPr bwMode="gray">
          <a:xfrm>
            <a:off x="4774502" y="3025265"/>
            <a:ext cx="825300" cy="9256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bg1"/>
                </a:solidFill>
              </a:rPr>
              <a:t>~15%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2CB6830-A45A-3B56-0258-2738491BF238}"/>
              </a:ext>
            </a:extLst>
          </p:cNvPr>
          <p:cNvSpPr/>
          <p:nvPr/>
        </p:nvSpPr>
        <p:spPr bwMode="gray">
          <a:xfrm>
            <a:off x="4735053" y="1802895"/>
            <a:ext cx="850849" cy="2866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chemeClr val="tx1"/>
                </a:solidFill>
              </a:rPr>
              <a:t>Costs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B9979E2-3884-6EB1-CCFB-1752D8918D49}"/>
              </a:ext>
            </a:extLst>
          </p:cNvPr>
          <p:cNvCxnSpPr>
            <a:cxnSpLocks/>
          </p:cNvCxnSpPr>
          <p:nvPr/>
        </p:nvCxnSpPr>
        <p:spPr bwMode="gray">
          <a:xfrm>
            <a:off x="5640202" y="1761959"/>
            <a:ext cx="0" cy="4268648"/>
          </a:xfrm>
          <a:prstGeom prst="line">
            <a:avLst/>
          </a:prstGeom>
          <a:ln w="187325" cap="flat">
            <a:solidFill>
              <a:schemeClr val="bg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btfpColumnHeaderBox399874">
            <a:extLst>
              <a:ext uri="{FF2B5EF4-FFF2-40B4-BE49-F238E27FC236}">
                <a16:creationId xmlns:a16="http://schemas.microsoft.com/office/drawing/2014/main" id="{7EF48F40-819E-44D4-2795-467FEF9F46A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29183" y="1408176"/>
            <a:ext cx="11674192" cy="300497"/>
            <a:chOff x="8951913" y="1569553"/>
            <a:chExt cx="1706622" cy="313652"/>
          </a:xfrm>
        </p:grpSpPr>
        <p:sp>
          <p:nvSpPr>
            <p:cNvPr id="76" name="btfpColumnHeaderBoxText399874">
              <a:extLst>
                <a:ext uri="{FF2B5EF4-FFF2-40B4-BE49-F238E27FC236}">
                  <a16:creationId xmlns:a16="http://schemas.microsoft.com/office/drawing/2014/main" id="{3F0D2395-3270-B0EF-C7CA-F80027B03FA4}"/>
                </a:ext>
              </a:extLst>
            </p:cNvPr>
            <p:cNvSpPr txBox="1"/>
            <p:nvPr/>
          </p:nvSpPr>
          <p:spPr bwMode="gray">
            <a:xfrm>
              <a:off x="8951914" y="1569553"/>
              <a:ext cx="1706621" cy="30083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r>
                <a:rPr lang="en-US" sz="1400" b="1"/>
                <a:t>World outlook in 2100 according to low-, medium-, and high-ambition IEA climate scenarios</a:t>
              </a:r>
            </a:p>
          </p:txBody>
        </p:sp>
        <p:cxnSp>
          <p:nvCxnSpPr>
            <p:cNvPr id="79" name="btfpColumnHeaderBoxLine399874">
              <a:extLst>
                <a:ext uri="{FF2B5EF4-FFF2-40B4-BE49-F238E27FC236}">
                  <a16:creationId xmlns:a16="http://schemas.microsoft.com/office/drawing/2014/main" id="{A58331A5-E628-3FCB-A6B4-59C6D74DAB9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951913" y="1869044"/>
              <a:ext cx="1701806" cy="14161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499357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D24F1E-8547-57A1-6735-E37878CA9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99A0AED-23F3-64C8-443C-3FAA936F08B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7772400" imgH="10058400" progId="TCLayout.ActiveDocument.1">
                  <p:embed/>
                </p:oleObj>
              </mc:Choice>
              <mc:Fallback>
                <p:oleObj name="think-cell Slide" r:id="rId8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9A0AED-23F3-64C8-443C-3FAA936F0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6" name="Rectangle 965">
            <a:extLst>
              <a:ext uri="{FF2B5EF4-FFF2-40B4-BE49-F238E27FC236}">
                <a16:creationId xmlns:a16="http://schemas.microsoft.com/office/drawing/2014/main" id="{5483A2A3-B28C-B1A1-5122-85526C34D80A}"/>
              </a:ext>
            </a:extLst>
          </p:cNvPr>
          <p:cNvSpPr/>
          <p:nvPr/>
        </p:nvSpPr>
        <p:spPr bwMode="gray">
          <a:xfrm>
            <a:off x="6992938" y="3062289"/>
            <a:ext cx="1598611" cy="27765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CF066670-DF10-3886-F1FC-30BA4FA9735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321300" y="2998788"/>
          <a:ext cx="3344863" cy="286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372EE231-9A17-00E4-06DE-0ADCD6C8783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6992938" y="2703513"/>
            <a:ext cx="1446213" cy="1039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4" name="Text Placeholder 10">
            <a:extLst>
              <a:ext uri="{FF2B5EF4-FFF2-40B4-BE49-F238E27FC236}">
                <a16:creationId xmlns:a16="http://schemas.microsoft.com/office/drawing/2014/main" id="{F7E319BE-9E9F-34CA-C4CE-088B2C8AAF3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402263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026470-9E0E-41AC-9146-EB41D86CD1C8}" type="datetime'''20''''''''''1''''''''''''''''''''''''''''''''''''''''''''5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/>
          </a:p>
        </p:txBody>
      </p:sp>
      <p:sp>
        <p:nvSpPr>
          <p:cNvPr id="239" name="Text Placeholder 10">
            <a:extLst>
              <a:ext uri="{FF2B5EF4-FFF2-40B4-BE49-F238E27FC236}">
                <a16:creationId xmlns:a16="http://schemas.microsoft.com/office/drawing/2014/main" id="{6C60F0A4-EB17-B097-FD5D-E1478BDA6CC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846888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049E3E-891E-4FB6-AFB3-98E0EAB35B90}" type="datetime'''''''''''''''''''''''''''2''0''''''''''''2''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/>
          </a:p>
        </p:txBody>
      </p:sp>
      <p:sp>
        <p:nvSpPr>
          <p:cNvPr id="987" name="Text Placeholder 10">
            <a:extLst>
              <a:ext uri="{FF2B5EF4-FFF2-40B4-BE49-F238E27FC236}">
                <a16:creationId xmlns:a16="http://schemas.microsoft.com/office/drawing/2014/main" id="{032F1306-67C1-71BF-EB37-B6B835197C9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004175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0646AE-0036-452D-B3B0-47FF53319691}" type="datetime'''''''2''''''''0''''''''''''''''''2''''''''4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/>
          </a:p>
        </p:txBody>
      </p:sp>
      <p:sp>
        <p:nvSpPr>
          <p:cNvPr id="21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426075" y="43767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12036D-4820-4AF1-B844-A5B33E8A2EE1}" type="datetime'''''''''''''4''''''''''0''''''9''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9</a:t>
            </a:fld>
            <a:endParaRPr lang="en-US" sz="1000"/>
          </a:p>
        </p:txBody>
      </p:sp>
      <p:sp>
        <p:nvSpPr>
          <p:cNvPr id="22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870700" y="42433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99208E-6D0A-469A-9B6D-99331EBC8A7F}" type="datetime'''''''''''''''''''''45''''''''''''4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4</a:t>
            </a:fld>
            <a:endParaRPr lang="en-US" sz="1000"/>
          </a:p>
        </p:txBody>
      </p:sp>
      <p:sp>
        <p:nvSpPr>
          <p:cNvPr id="22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7161213" y="41830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7BF606-ADD3-4EF3-B06E-ECA5EF33DAA8}" type="datetime'''''''''''''''''''''''''''''''''''''4''''''''7''''''''4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4</a:t>
            </a:fld>
            <a:endParaRPr lang="en-US" sz="1000"/>
          </a:p>
        </p:txBody>
      </p:sp>
      <p:sp>
        <p:nvSpPr>
          <p:cNvPr id="2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7450138" y="37766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5F000A-24EE-415F-A372-EEF7BC223B3E}" type="datetime'6''''''''0''''''''''''''''''''''''9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9</a:t>
            </a:fld>
            <a:endParaRPr lang="en-US" sz="1000"/>
          </a:p>
        </p:txBody>
      </p:sp>
      <p:sp>
        <p:nvSpPr>
          <p:cNvPr id="22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7739063" y="34321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E14804-FB86-4172-A127-79B4F1686302}" type="datetime'''7''''''''''''''''2''4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4</a:t>
            </a:fld>
            <a:endParaRPr lang="en-US" sz="1000"/>
          </a:p>
        </p:txBody>
      </p:sp>
      <p:sp>
        <p:nvSpPr>
          <p:cNvPr id="24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8027988" y="32750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A9FC85-9F8A-4734-8392-4D30C22D17ED}" type="datetime'''''''''''''7''''''''''''''''7''''6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6</a:t>
            </a:fld>
            <a:endParaRPr lang="en-US" sz="100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3D835AE-694C-F297-E516-2DFDC7DDAB3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293100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9E56DC-6395-47FE-AFD1-02B18B3E55EE}" type="datetime'202''5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316913" y="32035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C3AB80-BC41-4C2A-9E4A-69F1D587FE89}" type="datetime'''''''''8''''0''''''''''''''0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en-US" sz="1000" dirty="0"/>
          </a:p>
        </p:txBody>
      </p:sp>
      <p:sp>
        <p:nvSpPr>
          <p:cNvPr id="10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537450" y="3114675"/>
            <a:ext cx="357188" cy="2159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8CD6AF-A30F-42E2-AA45-D6248784629D}" type="datetime'''''''''''1''''''''''''''2''%'''''''''''">
              <a:rPr lang="en-US" altLang="en-US" sz="10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000" b="1"/>
          </a:p>
        </p:txBody>
      </p:sp>
      <p:sp>
        <p:nvSpPr>
          <p:cNvPr id="963" name="Rectangle 962">
            <a:extLst>
              <a:ext uri="{FF2B5EF4-FFF2-40B4-BE49-F238E27FC236}">
                <a16:creationId xmlns:a16="http://schemas.microsoft.com/office/drawing/2014/main" id="{674A6F1E-8894-5F3E-F366-9995631EA949}"/>
              </a:ext>
            </a:extLst>
          </p:cNvPr>
          <p:cNvSpPr/>
          <p:nvPr/>
        </p:nvSpPr>
        <p:spPr bwMode="gray">
          <a:xfrm>
            <a:off x="10647362" y="3062288"/>
            <a:ext cx="1366838" cy="27638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aphicFrame>
        <p:nvGraphicFramePr>
          <p:cNvPr id="449" name="Chart 448">
            <a:extLst>
              <a:ext uri="{FF2B5EF4-FFF2-40B4-BE49-F238E27FC236}">
                <a16:creationId xmlns:a16="http://schemas.microsoft.com/office/drawing/2014/main" id="{E926CBDC-EF45-0AE6-F960-842E1A02E15A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9201150" y="2998788"/>
          <a:ext cx="2886075" cy="286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cxnSp>
        <p:nvCxnSpPr>
          <p:cNvPr id="983" name="Straight Connector 982">
            <a:extLst>
              <a:ext uri="{FF2B5EF4-FFF2-40B4-BE49-F238E27FC236}">
                <a16:creationId xmlns:a16="http://schemas.microsoft.com/office/drawing/2014/main" id="{BBE2BC0D-9CEB-CB5D-D5C5-C06DCCBC6BAB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10642600" y="4429125"/>
            <a:ext cx="1236663" cy="4413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BCFBB14A-BE40-1D77-8035-12C92FA18C40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9458325" y="5480050"/>
            <a:ext cx="333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70" name="Text Placeholder 10">
            <a:extLst>
              <a:ext uri="{FF2B5EF4-FFF2-40B4-BE49-F238E27FC236}">
                <a16:creationId xmlns:a16="http://schemas.microsoft.com/office/drawing/2014/main" id="{38392D92-42DE-A919-B086-E178208DAC67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9491663" y="5403850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CCE7BD7-D571-4A3E-98B9-89BC51437F5D}" type="datetime'''''6''''''''''''''''''''''''''''''''''''''9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9</a:t>
            </a:fld>
            <a:endParaRPr lang="en-US" sz="1000"/>
          </a:p>
        </p:txBody>
      </p:sp>
      <p:sp>
        <p:nvSpPr>
          <p:cNvPr id="271" name="Text Placeholder 10">
            <a:extLst>
              <a:ext uri="{FF2B5EF4-FFF2-40B4-BE49-F238E27FC236}">
                <a16:creationId xmlns:a16="http://schemas.microsoft.com/office/drawing/2014/main" id="{6F06E0ED-9D42-361F-2E2D-52014CFD522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259888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7DE0D3-905D-4985-A8DF-2246F2F1AF2B}" type="datetime'''''''''''''''2''0''''''''1''''''''''''''''''''5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/>
          </a:p>
        </p:txBody>
      </p:sp>
      <p:sp>
        <p:nvSpPr>
          <p:cNvPr id="273" name="Text Placeholder 10">
            <a:extLst>
              <a:ext uri="{FF2B5EF4-FFF2-40B4-BE49-F238E27FC236}">
                <a16:creationId xmlns:a16="http://schemas.microsoft.com/office/drawing/2014/main" id="{2F4C472B-B9A7-488E-64A3-30130568DB75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0496550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C2248D-245B-4FD5-A203-CA2C641ED35F}" type="datetime'2''''''''''''0''2''''''''''''''''''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/>
          </a:p>
        </p:txBody>
      </p:sp>
      <p:sp>
        <p:nvSpPr>
          <p:cNvPr id="993" name="Text Placeholder 10">
            <a:extLst>
              <a:ext uri="{FF2B5EF4-FFF2-40B4-BE49-F238E27FC236}">
                <a16:creationId xmlns:a16="http://schemas.microsoft.com/office/drawing/2014/main" id="{5A1A3446-26B1-AD89-5156-3117E35ABA2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485563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1ABDF2-732B-4468-8595-8224D4EBBC74}" type="datetime'''2''''02''''4''''''''''''''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/>
          </a:p>
        </p:txBody>
      </p:sp>
      <p:sp>
        <p:nvSpPr>
          <p:cNvPr id="277" name="Text Placeholder 10">
            <a:extLst>
              <a:ext uri="{FF2B5EF4-FFF2-40B4-BE49-F238E27FC236}">
                <a16:creationId xmlns:a16="http://schemas.microsoft.com/office/drawing/2014/main" id="{3005F939-44E8-B40B-FF9D-C97CD4F487EB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9283700" y="5084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FAE672-EF07-4090-A0DC-30500D51C40D}" type="datetime'1''''''''''7''''''''''''''''''''''3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3</a:t>
            </a:fld>
            <a:endParaRPr lang="en-US" sz="1000"/>
          </a:p>
        </p:txBody>
      </p:sp>
      <p:sp>
        <p:nvSpPr>
          <p:cNvPr id="278" name="Text Placeholder 10">
            <a:extLst>
              <a:ext uri="{FF2B5EF4-FFF2-40B4-BE49-F238E27FC236}">
                <a16:creationId xmlns:a16="http://schemas.microsoft.com/office/drawing/2014/main" id="{2D1CA74B-3D83-B823-29AC-A58E518D131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0520363" y="50196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A11D7F-6EC5-41C1-8A2E-61214DFE668B}" type="datetime'''1''''''''''''''''''''''''9''''''''''5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5</a:t>
            </a:fld>
            <a:endParaRPr lang="en-US" sz="1000"/>
          </a:p>
        </p:txBody>
      </p:sp>
      <p:sp>
        <p:nvSpPr>
          <p:cNvPr id="990" name="Text Placeholder 10">
            <a:extLst>
              <a:ext uri="{FF2B5EF4-FFF2-40B4-BE49-F238E27FC236}">
                <a16:creationId xmlns:a16="http://schemas.microsoft.com/office/drawing/2014/main" id="{11821183-0B5F-FBE6-4D1E-220A3FF22B3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1509375" y="46624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11C4F5-D31C-46D4-8E20-18DB8D08FFAF}" type="datetime'''31''''''''''''''''''''''''''''''4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4</a:t>
            </a:fld>
            <a:endParaRPr lang="en-US" sz="1000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BC165C1F-92D7-5993-A6F5-8D8E1DD29225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1733213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BA63D4-8FC6-4314-991F-0B60FF7ECA1D}" type="datetime'''''''''''2''''''''''0''''''2''''''''''''5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11757025" y="45783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53E754-C6CB-4F58-8DFF-8C3FAD152AE2}" type="datetime'''''''''3''''''''''''''''''''''''''4''''''2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2</a:t>
            </a:fld>
            <a:endParaRPr lang="en-US" sz="1000" dirty="0"/>
          </a:p>
        </p:txBody>
      </p:sp>
      <p:sp>
        <p:nvSpPr>
          <p:cNvPr id="98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1082338" y="4541838"/>
            <a:ext cx="357188" cy="2159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9F03C0-9935-4CAA-AA76-F15ACFCD9332}" type="datetime'''''''''''''''''''''12''''''''''''''''%'''''''''''''''">
              <a:rPr lang="en-US" altLang="en-US" sz="10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000" b="1" dirty="0"/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4329A01C-9FF8-00B1-32FC-FBB61EFC8B94}"/>
              </a:ext>
            </a:extLst>
          </p:cNvPr>
          <p:cNvGraphicFramePr/>
          <p:nvPr>
            <p:custDataLst>
              <p:tags r:id="rId29"/>
            </p:custDataLst>
          </p:nvPr>
        </p:nvGraphicFramePr>
        <p:xfrm>
          <a:off x="246063" y="2919413"/>
          <a:ext cx="4435475" cy="3089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cxnSp>
        <p:nvCxnSpPr>
          <p:cNvPr id="435" name="Straight Connector 434">
            <a:extLst>
              <a:ext uri="{FF2B5EF4-FFF2-40B4-BE49-F238E27FC236}">
                <a16:creationId xmlns:a16="http://schemas.microsoft.com/office/drawing/2014/main" id="{A4AF26F3-2757-6E74-AECC-7985BF72BA08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 flipV="1">
            <a:off x="682625" y="2447925"/>
            <a:ext cx="3559175" cy="15779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695325" y="4662488"/>
            <a:ext cx="174625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E880E7-A7B3-4C43-8313-C41E93A85C8F}" type="datetime'2''''''''''''''''''''''''''''''''''''''''''''''''''9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96888" y="4695825"/>
            <a:ext cx="174625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ADA534-AF58-4527-B7A1-8AFE3E609817}" type="datetime'''3''''''''''''''''''''''''''''''''''''''''''''''''''''''0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1E19717-BAFA-D8DF-9785-8904EE513B76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536575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04F47D-DCAC-4F0E-8D2F-DF5D393F4FF8}" type="datetime'''''''''''''''2''''''''0''''''''''''''''''2''0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/>
          </a:p>
        </p:txBody>
      </p:sp>
      <p:sp>
        <p:nvSpPr>
          <p:cNvPr id="10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408113" y="4381500"/>
            <a:ext cx="174625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1D22A8-7B9D-402D-BD0F-FF6AC6A8EE40}" type="datetime'''''''''''''''''''''''''''33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209675" y="4418013"/>
            <a:ext cx="174625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43435E-50CB-46D2-AE40-2695B0846806}" type="datetime'''''3''''2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C2231EDB-9A90-AF1D-DF4F-908A68915D57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1249363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7FAF7C-1F20-4172-8F7A-D20EEF6144A5}" type="datetime'''''''''''''''''''2''''''''0''''2''''''''''''''''''''1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/>
          </a:p>
        </p:txBody>
      </p:sp>
      <p:sp>
        <p:nvSpPr>
          <p:cNvPr id="792" name="Text Placeholder 10">
            <a:extLst>
              <a:ext uri="{FF2B5EF4-FFF2-40B4-BE49-F238E27FC236}">
                <a16:creationId xmlns:a16="http://schemas.microsoft.com/office/drawing/2014/main" id="{81AE72A3-2271-C573-7B7B-F52AAA1E117B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2119313" y="3995738"/>
            <a:ext cx="174625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4D5EA6-7E90-4C3B-B4DA-746E0F68B301}" type="datetime'''''''''''''''''3''''''''7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920875" y="4037013"/>
            <a:ext cx="174625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C672C2-2576-42D3-9473-9010E5275018}" type="datetime'''''''''''''''''''''''3''''''''''''''''5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BE8AA72-9F59-42DE-D3FA-ED62BE6C9DA9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1960563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EBC641-2BE6-4316-9ACD-CA3C202F45E5}" type="datetime'''''''''''''''''''''''''''''2''''''''0''''22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/>
          </a:p>
        </p:txBody>
      </p:sp>
      <p:sp>
        <p:nvSpPr>
          <p:cNvPr id="793" name="Text Placeholder 10">
            <a:extLst>
              <a:ext uri="{FF2B5EF4-FFF2-40B4-BE49-F238E27FC236}">
                <a16:creationId xmlns:a16="http://schemas.microsoft.com/office/drawing/2014/main" id="{2B9FA6A3-DD8F-8F32-3B8D-6F625BBFC0F9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2830513" y="3598863"/>
            <a:ext cx="174625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5D5781-85E3-4D33-B192-B473B752C4A0}" type="datetime'''''''''6''''''''''''''''''''''''''9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2632075" y="3657600"/>
            <a:ext cx="174625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761AD7-0416-4408-A3C8-F300B36FA71D}" type="datetime'''''''''''''''''''''''''''''''''''''''''3''''''''''4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8BEBAC1F-6833-1A42-727F-81D69D5E16F0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2671763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18C0EC-9150-4F19-9335-810EF78116EE}" type="datetime'2''''0''''''''''2''''''''''''3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000"/>
          </a:p>
        </p:txBody>
      </p:sp>
      <p:sp>
        <p:nvSpPr>
          <p:cNvPr id="794" name="Text Placeholder 10">
            <a:extLst>
              <a:ext uri="{FF2B5EF4-FFF2-40B4-BE49-F238E27FC236}">
                <a16:creationId xmlns:a16="http://schemas.microsoft.com/office/drawing/2014/main" id="{73F214F6-B906-1211-8091-78B394D9D1E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3543300" y="3351213"/>
            <a:ext cx="174625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A52B0C-9626-4FB7-8EE7-25CD71B6D807}" type="datetime'''''''''''''''''''''''''39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3344863" y="3392488"/>
            <a:ext cx="174625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D02B71-80B4-459F-8E5C-2EFF5B6499E7}" type="datetime'''''''''3''''4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3C7EE7AF-85D9-75B5-595D-E773C57AE70F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3384550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8DEF81-9D17-435D-9FDF-75730B97E3C7}" type="datetime'''2''''0''''''''''''''''''''2''''''''''''''''''''''4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/>
          </a:p>
        </p:txBody>
      </p:sp>
      <p:sp>
        <p:nvSpPr>
          <p:cNvPr id="510" name="Text Placeholder 10">
            <a:extLst>
              <a:ext uri="{FF2B5EF4-FFF2-40B4-BE49-F238E27FC236}">
                <a16:creationId xmlns:a16="http://schemas.microsoft.com/office/drawing/2014/main" id="{4221640F-F7DA-1933-6070-2883C9C4D238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60388" y="45100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B3FE6C-1DD9-464C-A470-7D341D1ECBC8}" type="datetime'''''''''''9''''2''''''''''''''''9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29</a:t>
            </a:fld>
            <a:endParaRPr lang="en-US" sz="1000"/>
          </a:p>
        </p:txBody>
      </p:sp>
      <p:sp>
        <p:nvSpPr>
          <p:cNvPr id="114" name="Text Placeholder 10">
            <a:extLst>
              <a:ext uri="{FF2B5EF4-FFF2-40B4-BE49-F238E27FC236}">
                <a16:creationId xmlns:a16="http://schemas.microsoft.com/office/drawing/2014/main" id="{F40220CB-FC48-18A6-293F-3F22F741241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220788" y="422910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DE65EA-91C2-4A38-B3BB-16D5B72ED6BC}" type="datetime'''''''''''''''''''1,''1''''''''''''7''''''''''7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177</a:t>
            </a:fld>
            <a:endParaRPr lang="en-US" sz="1000"/>
          </a:p>
        </p:txBody>
      </p:sp>
      <p:sp>
        <p:nvSpPr>
          <p:cNvPr id="511" name="Text Placeholder 10">
            <a:extLst>
              <a:ext uri="{FF2B5EF4-FFF2-40B4-BE49-F238E27FC236}">
                <a16:creationId xmlns:a16="http://schemas.microsoft.com/office/drawing/2014/main" id="{58532793-27E3-1704-FCF1-64257E18B2C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931988" y="384333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EBF28E-0272-4F63-BDDA-81F355DA4B09}" type="datetime'1'''''''''',''''''''''''5''''''1''''''''''''''7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517</a:t>
            </a:fld>
            <a:endParaRPr lang="en-US" sz="1000"/>
          </a:p>
        </p:txBody>
      </p:sp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7C54339D-02F6-62DF-1724-BB443245E94B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2643188" y="3446463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24DCEB-610E-477E-9311-98ED0E0A10BE}" type="datetime'1'',8''''''''''''''''''8''''''''''''''''1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881</a:t>
            </a:fld>
            <a:endParaRPr lang="en-US" sz="100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EA299F49-3A03-8E2B-F55E-34E8D8C63C3D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3355975" y="3198813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B98DDD-2EA9-4E02-A5C9-E711B6B9E7BF}" type="datetime'2'''''''''''''''''''''''''''''',''''''''0''''8''3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83</a:t>
            </a:fld>
            <a:endParaRPr lang="en-US" sz="100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A868E018-6CDA-A36A-C687-4136B40F4CBF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4095750" y="58261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019698-4E67-4DE9-9C14-7E1BC0F0AE45}" type="datetime'''''''''''''''''2''''''''02''''''''''''''''''''''''''''''''5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4067175" y="294163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AB9410-5E7C-4EB9-9FCC-5952B01B661C}" type="datetime'''''2'',''''''''''''''''''''''''''3''''''''''''1''''''1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11</a:t>
            </a:fld>
            <a:endParaRPr lang="en-US" sz="100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1D690BC-B638-9455-7D40-0FF84E5DFBE4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4056063" y="3141663"/>
            <a:ext cx="174625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F590C2-4F89-4BF5-9B3D-2E9C34723918}" type="datetime'''3''''''''''''6''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49CA77FD-5DE9-EC2C-8F24-2CCCE85EB025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4254500" y="3094038"/>
            <a:ext cx="174625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45AC55-971A-4A59-8373-C45EADD6AC04}" type="datetime'4''''''''''''''''''''''''''''''''''6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434" name="Text Placeholder 10">
            <a:extLst>
              <a:ext uri="{FF2B5EF4-FFF2-40B4-BE49-F238E27FC236}">
                <a16:creationId xmlns:a16="http://schemas.microsoft.com/office/drawing/2014/main" id="{5E89B175-4A16-8F65-ED26-CE40B24DC4B7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2230438" y="3128963"/>
            <a:ext cx="463550" cy="2159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8A9975-CAEA-4C52-8387-A7FEA05EDA9A}" type="datetime'''''''''''''''''''''''''&gt;''2''''''''0%'''">
              <a:rPr lang="en-US" altLang="en-US" sz="1000" b="1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20%</a:t>
            </a:fld>
            <a:endParaRPr lang="en-US" sz="1000" b="1"/>
          </a:p>
        </p:txBody>
      </p:sp>
      <p:sp>
        <p:nvSpPr>
          <p:cNvPr id="776" name="btfpNotesBox962619">
            <a:extLst>
              <a:ext uri="{FF2B5EF4-FFF2-40B4-BE49-F238E27FC236}">
                <a16:creationId xmlns:a16="http://schemas.microsoft.com/office/drawing/2014/main" id="{CF287607-E350-003E-50F0-220A0A9A3D7D}"/>
              </a:ext>
            </a:extLst>
          </p:cNvPr>
          <p:cNvSpPr txBox="1"/>
          <p:nvPr>
            <p:custDataLst>
              <p:tags r:id="rId56"/>
            </p:custDataLst>
          </p:nvPr>
        </p:nvSpPr>
        <p:spPr bwMode="gray">
          <a:xfrm>
            <a:off x="329184" y="5943600"/>
            <a:ext cx="9095804" cy="86177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endParaRPr lang="en-US" sz="800" dirty="0">
              <a:solidFill>
                <a:srgbClr val="000000"/>
              </a:solidFill>
            </a:endParaRPr>
          </a:p>
          <a:p>
            <a:endParaRPr lang="en-US" sz="800" dirty="0">
              <a:solidFill>
                <a:srgbClr val="000000"/>
              </a:solidFill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lang="en-US" sz="800" dirty="0" err="1"/>
              <a:t>BloombergNEF</a:t>
            </a:r>
            <a:r>
              <a:rPr lang="en-US" sz="800" dirty="0"/>
              <a:t> technology categories were consolidated into five broader sectors: (1) renewables, (2) grid &amp; storage, (3) electrification of end-use sectors (transport, heat), (4) other emerging solutions (clean industry, hydrogen, CCUS), and (5) nuclear. Grouping was based on primary function within the energy-transition value chain. </a:t>
            </a:r>
            <a:r>
              <a:rPr lang="en-US" sz="800" dirty="0">
                <a:solidFill>
                  <a:srgbClr val="000000"/>
                </a:solidFill>
              </a:rPr>
              <a:t>The regional investment breakdown is based on IEA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data, with electrification extrapolated from the “Other end uses” section. The share of electrification (92%) of other end uses and emerging technologies is based on the Bloomberg NEF proxy. </a:t>
            </a:r>
            <a:endParaRPr lang="en-US" sz="800" dirty="0">
              <a:solidFill>
                <a:srgbClr val="000000"/>
              </a:solidFill>
              <a:cs typeface="Arial"/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hlinkClick r:id="rId88"/>
              </a:rPr>
              <a:t>World Energy Investment 2025</a:t>
            </a:r>
            <a:r>
              <a:rPr lang="en-US" sz="800" dirty="0">
                <a:solidFill>
                  <a:srgbClr val="000000"/>
                </a:solidFill>
              </a:rPr>
              <a:t> (2025); </a:t>
            </a:r>
            <a:r>
              <a:rPr lang="en-US" sz="800" dirty="0" err="1">
                <a:solidFill>
                  <a:srgbClr val="000000"/>
                </a:solidFill>
              </a:rPr>
              <a:t>BloombergNEF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89"/>
              </a:rPr>
              <a:t>Energy Transition Investment Trends</a:t>
            </a:r>
            <a:r>
              <a:rPr lang="en-US" sz="800" dirty="0">
                <a:solidFill>
                  <a:srgbClr val="000000"/>
                </a:solidFill>
              </a:rPr>
              <a:t> (2025).</a:t>
            </a:r>
            <a:endParaRPr lang="en-US" sz="800" dirty="0">
              <a:solidFill>
                <a:srgbClr val="000000"/>
              </a:solidFill>
              <a:cs typeface="Arial"/>
            </a:endParaRPr>
          </a:p>
          <a:p>
            <a:r>
              <a:rPr lang="en-US" sz="800" dirty="0">
                <a:solidFill>
                  <a:srgbClr val="000000"/>
                </a:solidFill>
              </a:rPr>
              <a:t>Credit: Anika Behrndt, Zacharia Thurston, Isabel Hoyos, </a:t>
            </a:r>
            <a:r>
              <a:rPr lang="en-US" sz="800" dirty="0" err="1">
                <a:solidFill>
                  <a:srgbClr val="000000"/>
                </a:solidFill>
              </a:rPr>
              <a:t>Hyae</a:t>
            </a:r>
            <a:r>
              <a:rPr lang="en-US" sz="800" dirty="0">
                <a:solidFill>
                  <a:srgbClr val="000000"/>
                </a:solidFill>
              </a:rPr>
              <a:t> Ryung Kim, and </a:t>
            </a:r>
            <a:r>
              <a:rPr lang="en-US" sz="800" dirty="0">
                <a:solidFill>
                  <a:srgbClr val="000000"/>
                </a:solidFill>
                <a:hlinkClick r:id="rId9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r>
              <a:rPr lang="en-US" sz="800" dirty="0">
                <a:solidFill>
                  <a:srgbClr val="000000"/>
                </a:solidFill>
                <a:hlinkClick r:id="rId91"/>
              </a:rPr>
              <a:t>Share with attribution</a:t>
            </a:r>
            <a:r>
              <a:rPr lang="en-US" sz="800" dirty="0">
                <a:solidFill>
                  <a:srgbClr val="000000"/>
                </a:solidFill>
              </a:rPr>
              <a:t>: Wagner et al., “Probable Climates” (27 January 2026).</a:t>
            </a:r>
            <a:endParaRPr lang="en-US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57" name="btfpCallout806132">
            <a:extLst>
              <a:ext uri="{FF2B5EF4-FFF2-40B4-BE49-F238E27FC236}">
                <a16:creationId xmlns:a16="http://schemas.microsoft.com/office/drawing/2014/main" id="{3697FEFD-7D5B-AF23-AC4B-9EEFE4295BE9}"/>
              </a:ext>
            </a:extLst>
          </p:cNvPr>
          <p:cNvSpPr/>
          <p:nvPr/>
        </p:nvSpPr>
        <p:spPr bwMode="gray">
          <a:xfrm>
            <a:off x="5394324" y="2935557"/>
            <a:ext cx="1370016" cy="1025256"/>
          </a:xfrm>
          <a:prstGeom prst="wedgeRectCallout">
            <a:avLst>
              <a:gd name="adj1" fmla="val 22281"/>
              <a:gd name="adj2" fmla="val 1882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1000">
                <a:latin typeface="Arial"/>
                <a:cs typeface="Arial"/>
              </a:rPr>
              <a:t>China accounts for </a:t>
            </a:r>
            <a:r>
              <a:rPr lang="en-US" sz="1000" b="1">
                <a:latin typeface="Arial"/>
                <a:cs typeface="Arial"/>
              </a:rPr>
              <a:t>&gt;US$550 billion energy investment </a:t>
            </a:r>
            <a:r>
              <a:rPr lang="en-US" sz="1000">
                <a:latin typeface="Arial"/>
                <a:cs typeface="Arial"/>
              </a:rPr>
              <a:t>(&gt;70% of total Asia Pacific investment)</a:t>
            </a:r>
          </a:p>
        </p:txBody>
      </p:sp>
      <p:sp>
        <p:nvSpPr>
          <p:cNvPr id="388" name="Text Placeholder 10">
            <a:extLst>
              <a:ext uri="{FF2B5EF4-FFF2-40B4-BE49-F238E27FC236}">
                <a16:creationId xmlns:a16="http://schemas.microsoft.com/office/drawing/2014/main" id="{CFACA839-D4FE-1C75-FE0B-97D93312FAC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383214" y="2522538"/>
            <a:ext cx="3071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Asia </a:t>
            </a:r>
            <a:r>
              <a:rPr lang="en-US" altLang="en-US" sz="1200">
                <a:effectLst/>
              </a:rPr>
              <a:t>investment, 2015-25, </a:t>
            </a:r>
            <a:r>
              <a:rPr lang="en-US" altLang="en-US" sz="1200"/>
              <a:t>US$B</a:t>
            </a:r>
            <a:endParaRPr lang="en-US" sz="1200"/>
          </a:p>
        </p:txBody>
      </p:sp>
      <p:sp>
        <p:nvSpPr>
          <p:cNvPr id="414" name="Text Placeholder 10">
            <a:extLst>
              <a:ext uri="{FF2B5EF4-FFF2-40B4-BE49-F238E27FC236}">
                <a16:creationId xmlns:a16="http://schemas.microsoft.com/office/drawing/2014/main" id="{126E14FD-973A-DC32-9CEA-60F39DDE5081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330200" y="2522538"/>
            <a:ext cx="4740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8738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Global </a:t>
            </a:r>
            <a:r>
              <a:rPr lang="en-US" altLang="en-US" sz="1200">
                <a:effectLst/>
              </a:rPr>
              <a:t>investment, 2020-25, </a:t>
            </a:r>
            <a:r>
              <a:rPr lang="en-US" altLang="en-US" sz="1200"/>
              <a:t>US$B</a:t>
            </a:r>
            <a:endParaRPr lang="en-US" sz="1200" i="1"/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7B26ED86-7F81-B052-333A-7ECEC32D3505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328613" y="1943100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832" name="Rectangle 831">
            <a:extLst>
              <a:ext uri="{FF2B5EF4-FFF2-40B4-BE49-F238E27FC236}">
                <a16:creationId xmlns:a16="http://schemas.microsoft.com/office/drawing/2014/main" id="{9916F646-D9B7-5115-A3AD-505905EA876B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328613" y="2146300"/>
            <a:ext cx="179388" cy="133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833" name="Rectangle 832">
            <a:extLst>
              <a:ext uri="{FF2B5EF4-FFF2-40B4-BE49-F238E27FC236}">
                <a16:creationId xmlns:a16="http://schemas.microsoft.com/office/drawing/2014/main" id="{0C7BFAF0-F570-AABE-0F84-37942114E92F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474788" y="1943100"/>
            <a:ext cx="179388" cy="133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834" name="Rectangle 833">
            <a:extLst>
              <a:ext uri="{FF2B5EF4-FFF2-40B4-BE49-F238E27FC236}">
                <a16:creationId xmlns:a16="http://schemas.microsoft.com/office/drawing/2014/main" id="{59E77A7F-8A94-1491-B682-F513460A06A7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474788" y="2146300"/>
            <a:ext cx="179388" cy="1333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803" name="Rectangle 802">
            <a:extLst>
              <a:ext uri="{FF2B5EF4-FFF2-40B4-BE49-F238E27FC236}">
                <a16:creationId xmlns:a16="http://schemas.microsoft.com/office/drawing/2014/main" id="{BE7F7454-0219-B681-BDAF-D1ABEADC6EC7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2559050" y="1943100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52" name="Text Placeholder 10">
            <a:extLst>
              <a:ext uri="{FF2B5EF4-FFF2-40B4-BE49-F238E27FC236}">
                <a16:creationId xmlns:a16="http://schemas.microsoft.com/office/drawing/2014/main" id="{5D9B0549-1DBA-9D5D-C547-E288DD14C5F8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558800" y="1938338"/>
            <a:ext cx="695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36172F2-0950-4AC6-9753-5788379D8F3B}" type="datetime'''''''''Re''''''n''''''''''e''w''ab''''''''''''les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newables</a:t>
            </a:fld>
            <a:endParaRPr lang="en-US" sz="100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E72E6920-36CB-E6C7-0C05-9C0929A2ED7F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558800" y="2141538"/>
            <a:ext cx="814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Grid &amp; storage</a:t>
            </a:r>
            <a:endParaRPr lang="en-US" sz="1000"/>
          </a:p>
        </p:txBody>
      </p:sp>
      <p:sp>
        <p:nvSpPr>
          <p:cNvPr id="204" name="Text Placeholder 10">
            <a:extLst>
              <a:ext uri="{FF2B5EF4-FFF2-40B4-BE49-F238E27FC236}">
                <a16:creationId xmlns:a16="http://schemas.microsoft.com/office/drawing/2014/main" id="{FA398588-95A5-D8B7-4717-1B6804F3181C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704975" y="1938338"/>
            <a:ext cx="752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9BA5FC6-0892-4D5E-A8BA-A42F4E593736}" type="datetime'''El''ectri''fi''''''''ca''t''''''''''i''''o''n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fication</a:t>
            </a:fld>
            <a:endParaRPr lang="en-US" sz="1000"/>
          </a:p>
        </p:txBody>
      </p:sp>
      <p:sp>
        <p:nvSpPr>
          <p:cNvPr id="288" name="Text Placeholder 10">
            <a:extLst>
              <a:ext uri="{FF2B5EF4-FFF2-40B4-BE49-F238E27FC236}">
                <a16:creationId xmlns:a16="http://schemas.microsoft.com/office/drawing/2014/main" id="{DFF768E9-1DDD-7DE1-B274-69F38F174C15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704975" y="2141538"/>
            <a:ext cx="471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D4C33EF-EC71-43AE-9716-5498C248B800}" type="datetime'''''''''''N''''u''''''''''''''cl''''''''e''''ar'''''''''' 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Nuclear </a:t>
            </a:fld>
            <a:endParaRPr lang="en-US" sz="1000"/>
          </a:p>
        </p:txBody>
      </p:sp>
      <p:sp>
        <p:nvSpPr>
          <p:cNvPr id="789" name="Text Placeholder 10">
            <a:extLst>
              <a:ext uri="{FF2B5EF4-FFF2-40B4-BE49-F238E27FC236}">
                <a16:creationId xmlns:a16="http://schemas.microsoft.com/office/drawing/2014/main" id="{1B2A7229-E79F-514F-9365-1F0ABA430404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2789238" y="1938338"/>
            <a:ext cx="162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6DAF9C9-FE89-4EB3-AFE5-77BCDC625551}" type="datetime'Othe''''''''r'' e''m''e''rg''ing techn''o''l''''og''ie''''s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emerging technologies</a:t>
            </a:fld>
            <a:endParaRPr lang="en-US" sz="1000"/>
          </a:p>
        </p:txBody>
      </p:sp>
      <p:grpSp>
        <p:nvGrpSpPr>
          <p:cNvPr id="16" name="btfpColumnHeaderBox399874">
            <a:extLst>
              <a:ext uri="{FF2B5EF4-FFF2-40B4-BE49-F238E27FC236}">
                <a16:creationId xmlns:a16="http://schemas.microsoft.com/office/drawing/2014/main" id="{7EF48F40-819E-44D4-2795-467FEF9F46A9}"/>
              </a:ext>
            </a:extLst>
          </p:cNvPr>
          <p:cNvGrpSpPr/>
          <p:nvPr>
            <p:custDataLst>
              <p:tags r:id="rId69"/>
            </p:custDataLst>
          </p:nvPr>
        </p:nvGrpSpPr>
        <p:grpSpPr>
          <a:xfrm>
            <a:off x="329183" y="1408176"/>
            <a:ext cx="4866272" cy="515941"/>
            <a:chOff x="8951913" y="1344677"/>
            <a:chExt cx="1706622" cy="538528"/>
          </a:xfrm>
        </p:grpSpPr>
        <p:sp>
          <p:nvSpPr>
            <p:cNvPr id="12" name="btfpColumnHeaderBoxText399874">
              <a:extLst>
                <a:ext uri="{FF2B5EF4-FFF2-40B4-BE49-F238E27FC236}">
                  <a16:creationId xmlns:a16="http://schemas.microsoft.com/office/drawing/2014/main" id="{3F0D2395-3270-B0EF-C7CA-F80027B03FA4}"/>
                </a:ext>
              </a:extLst>
            </p:cNvPr>
            <p:cNvSpPr txBox="1"/>
            <p:nvPr/>
          </p:nvSpPr>
          <p:spPr bwMode="gray">
            <a:xfrm>
              <a:off x="8951914" y="1344677"/>
              <a:ext cx="1706621" cy="5257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defTabSz="711200">
                <a:defRPr/>
              </a:pPr>
              <a:r>
                <a:rPr lang="en-US" sz="1400" b="1"/>
                <a:t>Electrification overtakes renewables as global clean energy investments accelerate</a:t>
              </a:r>
              <a:endParaRPr lang="en-US" sz="1400" b="1" i="1" baseline="-25000">
                <a:solidFill>
                  <a:srgbClr val="000000"/>
                </a:solidFill>
                <a:cs typeface="Arial"/>
              </a:endParaRPr>
            </a:p>
          </p:txBody>
        </p:sp>
        <p:cxnSp>
          <p:nvCxnSpPr>
            <p:cNvPr id="14" name="btfpColumnHeaderBoxLine399874">
              <a:extLst>
                <a:ext uri="{FF2B5EF4-FFF2-40B4-BE49-F238E27FC236}">
                  <a16:creationId xmlns:a16="http://schemas.microsoft.com/office/drawing/2014/main" id="{A58331A5-E628-3FCB-A6B4-59C6D74DAB9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951913" y="1869044"/>
              <a:ext cx="1701806" cy="14161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ColumnHeaderBox399874">
            <a:extLst>
              <a:ext uri="{FF2B5EF4-FFF2-40B4-BE49-F238E27FC236}">
                <a16:creationId xmlns:a16="http://schemas.microsoft.com/office/drawing/2014/main" id="{40D4C391-9187-15AF-1ECB-73B97E2D8690}"/>
              </a:ext>
            </a:extLst>
          </p:cNvPr>
          <p:cNvGrpSpPr/>
          <p:nvPr>
            <p:custDataLst>
              <p:tags r:id="rId70"/>
            </p:custDataLst>
          </p:nvPr>
        </p:nvGrpSpPr>
        <p:grpSpPr>
          <a:xfrm>
            <a:off x="5403272" y="1408176"/>
            <a:ext cx="6601229" cy="515942"/>
            <a:chOff x="8951913" y="1344678"/>
            <a:chExt cx="1831401" cy="538527"/>
          </a:xfrm>
        </p:grpSpPr>
        <p:sp>
          <p:nvSpPr>
            <p:cNvPr id="20" name="btfpColumnHeaderBoxText399874">
              <a:extLst>
                <a:ext uri="{FF2B5EF4-FFF2-40B4-BE49-F238E27FC236}">
                  <a16:creationId xmlns:a16="http://schemas.microsoft.com/office/drawing/2014/main" id="{F6973A97-BF9A-0077-96D1-4A88CB7D23CE}"/>
                </a:ext>
              </a:extLst>
            </p:cNvPr>
            <p:cNvSpPr txBox="1"/>
            <p:nvPr/>
          </p:nvSpPr>
          <p:spPr bwMode="gray">
            <a:xfrm>
              <a:off x="8951914" y="1344678"/>
              <a:ext cx="1820559" cy="52571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defTabSz="711200">
                <a:defRPr/>
              </a:pPr>
              <a:r>
                <a:rPr lang="en-US" sz="1400" b="1">
                  <a:solidFill>
                    <a:srgbClr val="000000"/>
                  </a:solidFill>
                </a:rPr>
                <a:t>Asia heavily and rapidly investing in renewables (&gt;10% CAGR, 2015-25); North America investing steadily, focused on renewables, grids, and storage</a:t>
              </a:r>
              <a:endParaRPr lang="en-US" sz="1400" b="1" i="1" baseline="-25000">
                <a:solidFill>
                  <a:srgbClr val="000000"/>
                </a:solidFill>
                <a:cs typeface="Arial"/>
              </a:endParaRPr>
            </a:p>
          </p:txBody>
        </p:sp>
        <p:cxnSp>
          <p:nvCxnSpPr>
            <p:cNvPr id="23" name="btfpColumnHeaderBoxLine399874">
              <a:extLst>
                <a:ext uri="{FF2B5EF4-FFF2-40B4-BE49-F238E27FC236}">
                  <a16:creationId xmlns:a16="http://schemas.microsoft.com/office/drawing/2014/main" id="{E5990CFF-1315-A280-6D6B-99E523415E4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951913" y="1869044"/>
              <a:ext cx="1831401" cy="14161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C9011673-EA65-0719-5288-2F1B6A698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>
            <a:noAutofit/>
          </a:bodyPr>
          <a:lstStyle/>
          <a:p>
            <a:r>
              <a:rPr lang="en-US" dirty="0"/>
              <a:t>Global clean energy investment grew at &gt;20% CAGR from 2020 to 2025, with renewables deployment in Asia leading the charge</a:t>
            </a:r>
            <a:endParaRPr lang="en-US" sz="2400" dirty="0"/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2FA2FAE4-D8F2-A417-3395-65E716A2856F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5403850" y="1949450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94DC06E3-6D32-0CBC-1EBB-DFB80A138629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6430963" y="1949450"/>
            <a:ext cx="179388" cy="133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8B65C627-7384-C23B-58B6-69819DCF5159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7577138" y="1949450"/>
            <a:ext cx="179388" cy="133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F7DBF58E-BCEE-CB9B-8943-53FD2A33E91E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8661400" y="1949450"/>
            <a:ext cx="179388" cy="1333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116E861C-BED1-2092-90E5-731793504253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9464675" y="1949450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7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5634038" y="1944688"/>
            <a:ext cx="695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CB1C201-8F21-4A3A-A6BE-1476FEAEDCD1}" type="datetime'''''R''e''''n''''''e''w''''''a''''''b''le''''''''''''s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newables</a:t>
            </a:fld>
            <a:endParaRPr lang="en-US" sz="1000"/>
          </a:p>
        </p:txBody>
      </p:sp>
      <p:sp>
        <p:nvSpPr>
          <p:cNvPr id="380" name="Text Placeholder 10">
            <a:extLst>
              <a:ext uri="{FF2B5EF4-FFF2-40B4-BE49-F238E27FC236}">
                <a16:creationId xmlns:a16="http://schemas.microsoft.com/office/drawing/2014/main" id="{1EEC2A76-FA2D-DA8D-E89F-D8A4C118FBEF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6661150" y="1944688"/>
            <a:ext cx="814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Grid &amp; storage</a:t>
            </a:r>
            <a:endParaRPr lang="en-US" sz="1000"/>
          </a:p>
        </p:txBody>
      </p:sp>
      <p:sp>
        <p:nvSpPr>
          <p:cNvPr id="384" name="Text Placeholder 10">
            <a:extLst>
              <a:ext uri="{FF2B5EF4-FFF2-40B4-BE49-F238E27FC236}">
                <a16:creationId xmlns:a16="http://schemas.microsoft.com/office/drawing/2014/main" id="{6D1AECEA-852C-DE8E-0059-41F3ED793B5E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807325" y="1944688"/>
            <a:ext cx="752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78926E4-3057-4DDF-AEE3-6FC27AE2EC83}" type="datetime'''''''E''''''l''e''''''c''t''''''r''''i''fi''c''a''ti''''on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fication</a:t>
            </a:fld>
            <a:endParaRPr lang="en-US" sz="1000"/>
          </a:p>
        </p:txBody>
      </p:sp>
      <p:sp>
        <p:nvSpPr>
          <p:cNvPr id="394" name="Text Placeholder 10">
            <a:extLst>
              <a:ext uri="{FF2B5EF4-FFF2-40B4-BE49-F238E27FC236}">
                <a16:creationId xmlns:a16="http://schemas.microsoft.com/office/drawing/2014/main" id="{4719217B-3241-4158-A3B1-188C115AFA8B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891588" y="1944688"/>
            <a:ext cx="471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D3B919B-BFDF-469D-8E71-BDBC9C0F4A54}" type="datetime'''''''Nu''''''''''''''''''''c''''''l''e''''a''''r'''''''' 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Nuclear </a:t>
            </a:fld>
            <a:endParaRPr lang="en-US" sz="1000"/>
          </a:p>
        </p:txBody>
      </p:sp>
      <p:sp>
        <p:nvSpPr>
          <p:cNvPr id="389" name="Text Placeholder 10">
            <a:extLst>
              <a:ext uri="{FF2B5EF4-FFF2-40B4-BE49-F238E27FC236}">
                <a16:creationId xmlns:a16="http://schemas.microsoft.com/office/drawing/2014/main" id="{67783828-1797-6725-1736-E2A221C4A83C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9694863" y="1944688"/>
            <a:ext cx="162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47C5656-B2AD-48B9-9FDA-FFB296062E20}" type="datetime'Ot''''he''r'' ''e''m''e''rgin''g te''c''''hno''l''''og''''ie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emerging technologies</a:t>
            </a:fld>
            <a:endParaRPr lang="en-US" sz="1000"/>
          </a:p>
        </p:txBody>
      </p:sp>
      <p:sp>
        <p:nvSpPr>
          <p:cNvPr id="135" name="Text Placeholder 10">
            <a:extLst>
              <a:ext uri="{FF2B5EF4-FFF2-40B4-BE49-F238E27FC236}">
                <a16:creationId xmlns:a16="http://schemas.microsoft.com/office/drawing/2014/main" id="{F880A236-27EE-4DCC-A78A-41E523D23428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837613" y="2522539"/>
            <a:ext cx="33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North America </a:t>
            </a:r>
            <a:r>
              <a:rPr lang="en-US" altLang="en-US" sz="1200">
                <a:effectLst/>
              </a:rPr>
              <a:t>investment, 2015-25, US$B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167995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EE4P_STYLE_ID" val="39dcc26a-7131-49f4-a9eb-1c0521500c03"/>
  <p:tag name="DH_FLYSHEET_STYLE" val="1"/>
  <p:tag name="THINKCELLPRESENTATIONDONOTDELETE" val="&lt;?xml version=&quot;1.0&quot; encoding=&quot;UTF-16&quot; standalone=&quot;yes&quot;?&gt;&lt;root reqver=&quot;32687&quot;&gt;&lt;version val=&quot;38576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1.89999999999999991118E+00&quot;&gt;&lt;m_msothmcolidx val=&quot;0&quot;/&gt;&lt;m_rgb r=&quot;FF&quot; g=&quot;E5&quot; b=&quot;4F&quot;/&gt;&lt;/elem&gt;&lt;elem m_fUsage=&quot;1.53899999999999992362E+00&quot;&gt;&lt;m_msothmcolidx val=&quot;0&quot;/&gt;&lt;m_rgb r=&quot;F7&quot; g=&quot;C1&quot; b=&quot;00&quot;/&gt;&lt;/elem&gt;&lt;elem m_fUsage=&quot;1.12193100000000001160E+00&quot;&gt;&lt;m_msothmcolidx val=&quot;0&quot;/&gt;&lt;m_rgb r=&quot;FF&quot; g=&quot;F4&quot; b=&quot;4F&quot;/&gt;&lt;/elem&gt;&lt;elem m_fUsage=&quot;1.04990952518999991483E+00&quot;&gt;&lt;m_msothmcolidx val=&quot;0&quot;/&gt;&lt;m_rgb r=&quot;E7&quot; g=&quot;D7&quot; b=&quot;3C&quot;/&gt;&lt;/elem&gt;&lt;elem m_fUsage=&quot;9.08764110000000124856E-01&quot;&gt;&lt;m_msothmcolidx val=&quot;0&quot;/&gt;&lt;m_rgb r=&quot;F7&quot; g=&quot;D2&quot; b=&quot;00&quot;/&gt;&lt;/elem&gt;&lt;elem m_fUsage=&quot;6.56100000000000127542E-01&quot;&gt;&lt;m_msothmcolidx val=&quot;0&quot;/&gt;&lt;m_rgb r=&quot;F7&quot; g=&quot;CB&quot; b=&quot;00&quot;/&gt;&lt;/elem&gt;&lt;elem m_fUsage=&quot;4.82954507382510056512E-01&quot;&gt;&lt;m_msothmcolidx val=&quot;0&quot;/&gt;&lt;m_rgb r=&quot;E2&quot; g=&quot;CC&quot; b=&quot;46&quot;/&gt;&lt;/elem&gt;&lt;elem m_fUsage=&quot;2.82429536481000165171E-01&quot;&gt;&lt;m_msothmcolidx val=&quot;0&quot;/&gt;&lt;m_rgb r=&quot;E7&quot; g=&quot;D8&quot; b=&quot;3C&quot;/&gt;&lt;/elem&gt;&lt;elem m_fUsage=&quot;2.13720527933768389417E-01&quot;&gt;&lt;m_msothmcolidx val=&quot;0&quot;/&gt;&lt;m_rgb r=&quot;3D&quot; g=&quot;C0&quot; b=&quot;A7&quot;/&gt;&lt;/elem&gt;&lt;elem m_fUsage=&quot;2.05891132094649098594E-01&quot;&gt;&lt;m_msothmcolidx val=&quot;0&quot;/&gt;&lt;m_rgb r=&quot;F2&quot; g=&quot;EE&quot; b=&quot;1F&quot;/&gt;&lt;/elem&gt;&lt;elem m_fUsage=&quot;1.85302018885184133223E-01&quot;&gt;&lt;m_msothmcolidx val=&quot;0&quot;/&gt;&lt;m_rgb r=&quot;63&quot; g=&quot;9D&quot; b=&quot;D2&quot;/&gt;&lt;/elem&gt;&lt;elem m_fUsage=&quot;1.69422009970224440867E-01&quot;&gt;&lt;m_msothmcolidx val=&quot;0&quot;/&gt;&lt;m_rgb r=&quot;EE&quot; g=&quot;EC&quot; b=&quot;6D&quot;/&gt;&lt;/elem&gt;&lt;elem m_fUsage=&quot;1.68722923525279511203E-01&quot;&gt;&lt;m_msothmcolidx val=&quot;0&quot;/&gt;&lt;m_rgb r=&quot;AA&quot; g=&quot;D1&quot; b=&quot;6E&quot;/&gt;&lt;/elem&gt;&lt;elem m_fUsage=&quot;1.66771816996665767086E-01&quot;&gt;&lt;m_msothmcolidx val=&quot;0&quot;/&gt;&lt;m_rgb r=&quot;93&quot; g=&quot;AF&quot; b=&quot;9B&quot;/&gt;&lt;/elem&gt;&lt;elem m_fUsage=&quot;1.54136512338707870606E-01&quot;&gt;&lt;m_msothmcolidx val=&quot;0&quot;/&gt;&lt;m_rgb r=&quot;F0&quot; g=&quot;D1&quot; b=&quot;32&quot;/&gt;&lt;/elem&gt;&lt;elem m_fUsage=&quot;9.84770902183611934744E-02&quot;&gt;&lt;m_msothmcolidx val=&quot;0&quot;/&gt;&lt;m_rgb r=&quot;65&quot; g=&quot;B3&quot; b=&quot;D9&quot;/&gt;&lt;/elem&gt;&lt;elem m_fUsage=&quot;8.86293811965250810658E-02&quot;&gt;&lt;m_msothmcolidx val=&quot;0&quot;/&gt;&lt;m_rgb r=&quot;86&quot; g=&quot;DA&quot; b=&quot;C0&quot;/&gt;&lt;/elem&gt;&lt;elem m_fUsage=&quot;8.80496249500215821815E-02&quot;&gt;&lt;m_msothmcolidx val=&quot;0&quot;/&gt;&lt;m_rgb r=&quot;89&quot; g=&quot;D9&quot; b=&quot;C9&quot;/&gt;&lt;/elem&gt;&lt;elem m_fUsage=&quot;7.97664430768725840615E-02&quot;&gt;&lt;m_msothmcolidx val=&quot;0&quot;/&gt;&lt;m_rgb r=&quot;7D&quot; g=&quot;E1&quot; b=&quot;BD&quot;/&gt;&lt;/elem&gt;&lt;elem m_fUsage=&quot;7.17897987691853006753E-02&quot;&gt;&lt;m_msothmcolidx val=&quot;0&quot;/&gt;&lt;m_rgb r=&quot;73&quot; g=&quot;E8&quot; b=&quot;BF&quot;/&gt;&lt;/elem&gt;&lt;elem m_fUsage=&quot;6.46108188922667886489E-02&quot;&gt;&lt;m_msothmcolidx val=&quot;0&quot;/&gt;&lt;m_rgb r=&quot;77&quot; g=&quot;E6&quot; b=&quot;AC&quot;/&gt;&lt;/elem&gt;&lt;elem m_fUsage=&quot;5.81497370030401028451E-02&quot;&gt;&lt;m_msothmcolidx val=&quot;0&quot;/&gt;&lt;m_rgb r=&quot;6B&quot; g=&quot;ED&quot; b=&quot;9A&quot;/&gt;&lt;/elem&gt;&lt;elem m_fUsage=&quot;4.66014575457439628181E-02&quot;&gt;&lt;m_msothmcolidx val=&quot;0&quot;/&gt;&lt;m_rgb r=&quot;5B&quot; g=&quot;B6&quot; b=&quot;DD&quot;/&gt;&lt;/elem&gt;&lt;elem m_fUsage=&quot;4.31036498082629226936E-02&quot;&gt;&lt;m_msothmcolidx val=&quot;0&quot;/&gt;&lt;m_rgb r=&quot;F4&quot; g=&quot;E3&quot; b=&quot;27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WIMPXZn59tiuK2.Y.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_VyrtQK6XZzF0jvjLbd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MEAvg.cI_SbyRqnpCZ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ztRFQ9mWc.6b2ZwBgk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mv080wkR07Ht7t9SWQ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v6lWwDUUyQyKoL2Cte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.SLlI.eMjkx_DInimjX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F5mYf0D_cMWL_O0GsH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UMyKjIkR70ZsHziYCA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xzaRScReAmMTmkUmad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H0zU6oVGq.hxV1CjCz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lP8GctdX9gdPA8J8.5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3Ua2lJq9lIz8rjevCu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cd5rT7m6_D8QdknxVM1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Tqv1vTMkyH.tio.VrWC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sl4hmlff9edeFo1ssFJ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LnFHR6y3MACNRaGwMk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6FSNSU.cEY9SdCcznH_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7cEfK3u.XhrtMgIP4R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I8RnxTWMdGYdqjdJeE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ELS.uSzMNB.x.B14y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keF4bX.zRwAN.K5QJ7Z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AqYzl.ugxQWSNQh5j4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3c34fVuMFTxlN2PX_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LD88Sk5iPILiDgX0r8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blwvHIWCSVVubr0H1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MrXM6rXcuNaHmmjgsl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IT5uYpZ1gu0Tu1aFm0H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94DEkHCO4sU8_Od5jK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SIP3N7.A35.sck7Jsv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XjLXqC2xaYuIlIb1Kxi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G2CUWaLtUrriAKlP12g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uxpxH4utXm7HWR1M8q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YTkq.sbKq4y8TDvvJC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2XxK84O5i3hljdqBEO7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2spYIRyY8hX9OLwXdjU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7BpQHRfc8UFavBuMH4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YCo4Bmqud6_5xdtHgM7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r8S_zwMUU00O1TE1Naw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VbaBd.NKmjp2w7ubbRP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HrUMbGAgPmZZkOPxOH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Dz3MZc2WHhNj98_dfya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SXOXf9GuZ_6dttmV3By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QrjCCn6mZaiOr3WLBw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3qsYAWaWGxH0bwbFwb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blS4x9rM73JnhoHQNk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XdbFBuN5ZZ3b550JAXC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QAKecEjrgcRVOyiftD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Q.FsZ1e7hQMN0mTMgJN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pMLKqp1FLt1BbXnCi3K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_gliCtW39w7MQj5B_X1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h.q_Hyhlh1CcpzXmB8q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SYE839EfnIC3mRXquvQ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gvIcf3cny8_DHIlzEk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xZsKR8SLN841JH4LN83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FlNvss8xlq0c07AQqjs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GcxexBcn9FqVmZRsFbl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f0jc_HQxcZJ6jHIrpHk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dG7Ks1SppnT2hmLRJYe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701D0gdfIQ0ISsjsXX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TojQwThletEpc4eX9v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4bF5aZQUBWCxT.exuTZ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unADHwwgdB6LCOofbNs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LgxLnDqC.T67B4jmUi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L.ybarfOkFv8uFV660y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Xch9k9UOE7xHzVX9vOZ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z2vyOOdL8TiwRZPeiy4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U.rK5Qvb6hOvga9dRN.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0vjhvm5S7T1r4PeXzJd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sOPG3k3rt2l5J.bKLxG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9DcHn7mTS48K3Og3VJ.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BEYWRUBakQHI298WKFx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mHKCoIm2abjT0pgtKkn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.PV56X3gqv4ntdV7SO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cIeCFImBhr6Yx5m3x9C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C4XBHG7yzEn25oslUZl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2eMasnNSmGCEp13xBdH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9r.I9sz7EHu.k0KzSS.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3TeRnE1PpC.2NpSG_86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vxbhL5.eY0YWUpkpi7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mTxVC9qAibQ4mgyb8Ct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dztjKHFfr.CR4P.zhg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A0nd7B.NHQ_RT1NT6s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XbHiqp7F8C7uDca67T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5GcK9ebLvlusn1fCRe.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utvdYySvGK.Frj9ZNbh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I4vJgeyZxo6AH70J3B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EYlvW54JimjBVUlOXf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Mb2Qn_Pz36YN9LQEvOh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2D3d45ERmPz9CJlsNF_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CVMLsdWnjoVpScKOl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WSPJ0s4Sa3ykTRq7B33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m.9ntpqiWzJi7mOhvm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0zM0m1PLiaLoOQRHHs4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uHLkYkXMnlvVCzdXOH6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b1hy96pY82KIq26DS35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m.RyuIIIIUuzFNzHlUF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O5APHsgyocpu4sxmBes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e.rdybmXnei8KdbD2J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VMhkINmTXyRy.2.7Qd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34zGankyNEXSKpsBvG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o.L7pPOn2f6uPuHb0O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TpqDRUvIeMXSoiFiAc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76WfKgICXAMQEc9biS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yw2Ucv.dzruZz.8E8E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13dmJcWpUKPH7VyfjK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ByzshPSqtydKZQnJ0v_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s533WF812oUc2khAhI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zxGrq4GDVHdNxjmU1Xq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x8PnimxNgtcLuCkKrp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Zi1PC4Y0L3HuJ1vrT6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Q7TDucxywDNbyV.Nmj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uOkco3KjWlozsyDGRb0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IBXaJhQrc7kRQf01qI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PQxlYo1RQE4nE4d7kj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6u7KiLJszQBCyqB4Hf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k2YdZKRRyLGLyxxEIG3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ql2ymBbdrsb8r.A9Rh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f.ZDUzXrJlqBsUjZZA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6Uysop5yNfi9vGMa6Q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0D9IOoDMVV8SxPAdUd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O6sgKDArenEVB5qMdi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W0CgE4X8MzQiA1mtv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6DlNIqIbgoBxkAkJiM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Etm8HaZjmSYOUOdfG4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0M1bU6Kglhp8jy4NXl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TInUPYXs91Hmsop4urD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pE6Gl6WSxPjuBb6zTN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d9pw5ALSxUNV56K7_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gDyIxtMdh0uubq2UaE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_7Ll_CJeDiIPUBk3RN1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twu3BYs_Y2cyzLwU4Q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NdI96k28.fSk7SfHH0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7SM9FxICZ00XZJMqgs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WRvT4y7YNfHEPQTYai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nMvDhU09U.Dmm_Lkb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PUVvRhClQ.wjHr4tI9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y9bKQwIZcyWrTe0RA.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NqI4hucFF0LDtKYmrCT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Ne0i9MbVifVNR_aD56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KWo2pYtHNXw5sbkk.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eMXcb5AJ3dVdLsxMYal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h1tsFIbSYc9pD4kjY.x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crg_17d1zKtomSJRiJ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8ehCX5YDsKsq5BhXR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LTGW7At5xgQVRaHjAdE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UJYfpjavKcZokykt4x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5.F2L2vwFP8lXoQHzDZ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BEf34b3jeeOkslcy32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1B4tprnhLu4tONAw55j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6IYgUHuyXWdUctTLOy2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M88YcdkN8A76t_A8kw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X7rx7mwObrAV_10yaEA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keYlXRK_k.jKYfP2.M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ZXCj.G0rlj41i5Gcn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M3raV8ASosHyIy7zRv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aaUnfjy1BYh3RX2O.Rb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xKuFqdKN0nbrWXW_Sy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80hcKjrtWIw9mFdYsk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X78wR8t9v7OAJ.gWLT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ay_vHyOl8BF46mM1W4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LTinoFLE5VhKJ_Rokl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0sVuCB6OF2ut6VbOZKc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WhebFdYHWWseYuq8b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HoE7IpEc.QWrhukHRe9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Os1tgEGgYx6Nuwm6iBE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NY_n28ySoz8Jgp9._z_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YkuogBxPoeg.ho4Rxq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FJTKX5CvYTaFKSh7m3Hg"/>
</p:tagLst>
</file>

<file path=ppt/theme/theme1.xml><?xml version="1.0" encoding="utf-8"?>
<a:theme xmlns:a="http://schemas.openxmlformats.org/drawingml/2006/main" name="CKI Titles and Divider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60209_CKI Slide Master Template_Blank" id="{3AE3FECB-E4B3-1943-B5F9-C3C8FB75BC91}" vid="{5E17AC61-1C3F-3E45-B48E-CB11955F1081}"/>
    </a:ext>
  </a:extLst>
</a:theme>
</file>

<file path=ppt/theme/theme2.xml><?xml version="1.0" encoding="utf-8"?>
<a:theme xmlns:a="http://schemas.openxmlformats.org/drawingml/2006/main" name="1_CKI Content Slides">
  <a:themeElements>
    <a:clrScheme name="CKI Colors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solidFill>
          <a:srgbClr val="E3E8EE"/>
        </a:solidFill>
      </a:spPr>
      <a:bodyPr wrap="square" lIns="137160" tIns="137160" rIns="274320" bIns="137160" rtlCol="0">
        <a:spAutoFit/>
      </a:bodyPr>
      <a:lstStyle>
        <a:defPPr marL="0" indent="0" algn="l">
          <a:spcBef>
            <a:spcPts val="600"/>
          </a:spcBef>
          <a:spcAft>
            <a:spcPts val="600"/>
          </a:spcAft>
          <a:buNone/>
          <a:defRPr sz="125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60209_CKI Slide Master Template_Blank" id="{3AE3FECB-E4B3-1943-B5F9-C3C8FB75BC91}" vid="{F551DEC2-CDEC-944A-BD8A-37EF3D0981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095</Words>
  <Application>Microsoft Office PowerPoint</Application>
  <PresentationFormat>Widescreen</PresentationFormat>
  <Paragraphs>204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ptos</vt:lpstr>
      <vt:lpstr>Arial</vt:lpstr>
      <vt:lpstr>CKI Titles and Dividers</vt:lpstr>
      <vt:lpstr>1_CKI Content Slides</vt:lpstr>
      <vt:lpstr>think-cell Slide</vt:lpstr>
      <vt:lpstr>Probable Climates</vt:lpstr>
      <vt:lpstr>Early decarbonization investments are key to keeping temperatures within livable range and saving trillions in climate costs</vt:lpstr>
      <vt:lpstr>Each fractional degree of additional warming multiplies ecological and human climate-related damages across scenarios</vt:lpstr>
      <vt:lpstr>Global clean energy investment grew at &gt;20% CAGR from 2020 to 2025, with renewables deployment in Asia leading the charg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 order to achieve NZE by 2050, utility-scale storage is essential</dc:title>
  <dc:subject/>
  <dc:creator>David Trey Foye</dc:creator>
  <cp:keywords/>
  <dc:description/>
  <cp:lastModifiedBy>Hoyos Arango, Isabel</cp:lastModifiedBy>
  <cp:revision>10</cp:revision>
  <dcterms:created xsi:type="dcterms:W3CDTF">2024-07-17T14:54:18Z</dcterms:created>
  <dcterms:modified xsi:type="dcterms:W3CDTF">2026-02-20T21:35:3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5-01-29T02:03:50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d99b6f00-eaf9-41ff-b498-da3dcdc5f633</vt:lpwstr>
  </property>
  <property fmtid="{D5CDD505-2E9C-101B-9397-08002B2CF9AE}" pid="8" name="MSIP_Label_b0d5c4f4-7a29-4385-b7a5-afbe2154ae6f_ContentBits">
    <vt:lpwstr>0</vt:lpwstr>
  </property>
</Properties>
</file>